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tags/tag362.xml" ContentType="application/vnd.openxmlformats-officedocument.presentationml.tags+xml"/>
  <Override PartName="/ppt/notesSlides/notesSlide4.xml" ContentType="application/vnd.openxmlformats-officedocument.presentationml.notesSlide+xml"/>
  <Override PartName="/ppt/tags/tag36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Ex3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charts/chartEx4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charts/chartEx5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  <p:sldMasterId id="2147483889" r:id="rId6"/>
    <p:sldMasterId id="2147483894" r:id="rId7"/>
  </p:sldMasterIdLst>
  <p:notesMasterIdLst>
    <p:notesMasterId r:id="rId28"/>
  </p:notesMasterIdLst>
  <p:handoutMasterIdLst>
    <p:handoutMasterId r:id="rId29"/>
  </p:handoutMasterIdLst>
  <p:sldIdLst>
    <p:sldId id="256" r:id="rId8"/>
    <p:sldId id="3742" r:id="rId9"/>
    <p:sldId id="3730" r:id="rId10"/>
    <p:sldId id="3745" r:id="rId11"/>
    <p:sldId id="3743" r:id="rId12"/>
    <p:sldId id="3732" r:id="rId13"/>
    <p:sldId id="3733" r:id="rId14"/>
    <p:sldId id="3753" r:id="rId15"/>
    <p:sldId id="3734" r:id="rId16"/>
    <p:sldId id="3740" r:id="rId17"/>
    <p:sldId id="3764" r:id="rId18"/>
    <p:sldId id="3736" r:id="rId19"/>
    <p:sldId id="3738" r:id="rId20"/>
    <p:sldId id="3765" r:id="rId21"/>
    <p:sldId id="3758" r:id="rId22"/>
    <p:sldId id="3760" r:id="rId23"/>
    <p:sldId id="3756" r:id="rId24"/>
    <p:sldId id="3759" r:id="rId25"/>
    <p:sldId id="3750" r:id="rId26"/>
    <p:sldId id="3762" r:id="rId27"/>
  </p:sldIdLst>
  <p:sldSz cx="12192000" cy="6858000"/>
  <p:notesSz cx="7102475" cy="9388475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2" name="Gabriel Cuisset (Student at CentraleSupelec)" initials="GC(aC" lastIdx="1" clrIdx="1">
    <p:extLst>
      <p:ext uri="{19B8F6BF-5375-455C-9EA6-DF929625EA0E}">
        <p15:presenceInfo xmlns:p15="http://schemas.microsoft.com/office/powerpoint/2012/main" userId="Gabriel Cuisset (Student at CentraleSupelec)" providerId="None"/>
      </p:ext>
    </p:extLst>
  </p:cmAuthor>
  <p:cmAuthor id="3" name="Justin Bouteiller (Student at CentraleSupelec)" initials="JB(aC" lastIdx="2" clrIdx="2">
    <p:extLst>
      <p:ext uri="{19B8F6BF-5375-455C-9EA6-DF929625EA0E}">
        <p15:presenceInfo xmlns:p15="http://schemas.microsoft.com/office/powerpoint/2012/main" userId="S::justin.bouteiller@student-cs.fr::6f11b340-102f-4258-b34b-f015de05d967" providerId="AD"/>
      </p:ext>
    </p:extLst>
  </p:cmAuthor>
  <p:cmAuthor id="4" name="Geoffroy Gallean" initials="GG" lastIdx="1" clrIdx="3">
    <p:extLst>
      <p:ext uri="{19B8F6BF-5375-455C-9EA6-DF929625EA0E}">
        <p15:presenceInfo xmlns:p15="http://schemas.microsoft.com/office/powerpoint/2012/main" userId="S::geoffroy.gallean@student.ecp.fr::5e58378f-378f-4381-b640-6605b2d70c2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AE6F0"/>
    <a:srgbClr val="03111D"/>
    <a:srgbClr val="C0D0FF"/>
    <a:srgbClr val="53C5F8"/>
    <a:srgbClr val="2251FF"/>
    <a:srgbClr val="3C96B4"/>
    <a:srgbClr val="051C2C"/>
    <a:srgbClr val="7F7F7F"/>
    <a:srgbClr val="508481"/>
    <a:srgbClr val="5B7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7B1DDA-4C21-0447-BFCD-D33A5D13A064}" v="5452" dt="2021-11-26T08:29:38.093"/>
    <p1510:client id="{6DC20AB2-F0DC-47E1-A8E0-37BB73EF79BA}" v="10" dt="2021-11-25T22:47:24.986"/>
    <p1510:client id="{6E22FCBF-A208-5B4E-876A-119DB84263BC}" v="4648" dt="2021-11-26T07:52:30.352"/>
    <p1510:client id="{8B1F06FA-5E3A-4D85-85D6-8A56EC47CA66}" v="2157" dt="2021-11-25T10:46:51.941"/>
    <p1510:client id="{B30200AE-72D9-4C30-AF27-752D15B8F450}" v="5666" dt="2021-11-26T08:20:03.943"/>
    <p1510:client id="{CA2BAC6D-A6A9-44A0-AAB4-BE84AC0C5CF3}" v="75" dt="2021-11-26T08:29:19.194"/>
    <p1510:client id="{E697DBF3-85D4-4705-A6DC-FDD6A6A9E27D}" v="227" dt="2021-11-26T08:31:27.2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136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jojo\Documents\2021-2022\CS\M2AD\CS2%20-%20Ekimetrics\Ekimetrics-Groupe-12-master\Analys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hdrie\OneDrive\Documents\3A\FIliere%20M2AD\Etude%20de%20cas%203%20Ekimetrics\routes.csv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C:\Users\hdrie\OneDrive\Documents\3A\FIliere%20M2AD\Etude%20de%20cas%203%20Ekimetrics\routess\routes_v2.csv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file:///C:\Users\hdrie\OneDrive\Documents\3A\FIliere%20M2AD\Etude%20de%20cas%203%20Ekimetrics\routess\routes_v2.csv" TargetMode="External"/></Relationships>
</file>

<file path=ppt/charts/_rels/chartEx4.xml.rels><?xml version="1.0" encoding="UTF-8" standalone="yes"?>
<Relationships xmlns="http://schemas.openxmlformats.org/package/2006/relationships"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oleObject" Target="file:///C:\Users\hdrie\OneDrive\Documents\3A\FIliere%20M2AD\Etude%20de%20cas%203%20Ekimetrics\routess\routes_v2.csv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K$35</c:f>
              <c:strCache>
                <c:ptCount val="1"/>
                <c:pt idx="0">
                  <c:v>CO2/€revenu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  <a:effectLst/>
          </c:spPr>
          <c:cat>
            <c:numRef>
              <c:f>Sheet1!$L$28:$V$28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L$35:$V$35</c:f>
              <c:numCache>
                <c:formatCode>General</c:formatCode>
                <c:ptCount val="11"/>
                <c:pt idx="0">
                  <c:v>151.85185185185185</c:v>
                </c:pt>
                <c:pt idx="1">
                  <c:v>91.414814814814804</c:v>
                </c:pt>
                <c:pt idx="2">
                  <c:v>88.681481481481512</c:v>
                </c:pt>
                <c:pt idx="3">
                  <c:v>69.244444444444468</c:v>
                </c:pt>
                <c:pt idx="4">
                  <c:v>66.511111111111063</c:v>
                </c:pt>
                <c:pt idx="5">
                  <c:v>63.777777777777736</c:v>
                </c:pt>
                <c:pt idx="6">
                  <c:v>61.044444444444473</c:v>
                </c:pt>
                <c:pt idx="7">
                  <c:v>58.311111111111153</c:v>
                </c:pt>
                <c:pt idx="8">
                  <c:v>55.577777777777769</c:v>
                </c:pt>
                <c:pt idx="9">
                  <c:v>52.844444444444449</c:v>
                </c:pt>
                <c:pt idx="10">
                  <c:v>50.111111111111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19-8E42-B307-008A957BB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48289920"/>
        <c:axId val="848186640"/>
      </c:areaChart>
      <c:areaChart>
        <c:grouping val="standard"/>
        <c:varyColors val="0"/>
        <c:ser>
          <c:idx val="1"/>
          <c:order val="1"/>
          <c:tx>
            <c:strRef>
              <c:f>Sheet1!$K$33</c:f>
              <c:strCache>
                <c:ptCount val="1"/>
                <c:pt idx="0">
                  <c:v>Marge EBITDA</c:v>
                </c:pt>
              </c:strCache>
            </c:strRef>
          </c:tx>
          <c:spPr>
            <a:solidFill>
              <a:srgbClr val="7F7F7F">
                <a:alpha val="47000"/>
              </a:srgbClr>
            </a:solidFill>
            <a:ln>
              <a:noFill/>
            </a:ln>
            <a:effectLst/>
          </c:spPr>
          <c:cat>
            <c:numRef>
              <c:f>Sheet1!$L$28:$V$28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L$33:$V$33</c:f>
              <c:numCache>
                <c:formatCode>0%</c:formatCode>
                <c:ptCount val="11"/>
                <c:pt idx="0">
                  <c:v>2.9629629629629631E-2</c:v>
                </c:pt>
                <c:pt idx="1">
                  <c:v>6.8942424242424361E-2</c:v>
                </c:pt>
                <c:pt idx="2">
                  <c:v>7.4839546985001559E-2</c:v>
                </c:pt>
                <c:pt idx="3">
                  <c:v>0.10728272254222666</c:v>
                </c:pt>
                <c:pt idx="4">
                  <c:v>0.12556262626262629</c:v>
                </c:pt>
                <c:pt idx="5">
                  <c:v>0.12992929292929301</c:v>
                </c:pt>
                <c:pt idx="6">
                  <c:v>0.13429595959595955</c:v>
                </c:pt>
                <c:pt idx="7">
                  <c:v>0.13866262626262615</c:v>
                </c:pt>
                <c:pt idx="8">
                  <c:v>0.14302929292929287</c:v>
                </c:pt>
                <c:pt idx="9">
                  <c:v>0.14739595959595947</c:v>
                </c:pt>
                <c:pt idx="10">
                  <c:v>0.151762626262626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19-8E42-B307-008A957BB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47693152"/>
        <c:axId val="818972800"/>
      </c:areaChart>
      <c:catAx>
        <c:axId val="848289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Anné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48186640"/>
        <c:crosses val="autoZero"/>
        <c:auto val="1"/>
        <c:lblAlgn val="ctr"/>
        <c:lblOffset val="100"/>
        <c:noMultiLvlLbl val="0"/>
      </c:catAx>
      <c:valAx>
        <c:axId val="848186640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400" b="1" err="1"/>
                  <a:t>Sobriété</a:t>
                </a:r>
                <a:r>
                  <a:rPr lang="en-GB" sz="1400" b="1"/>
                  <a:t> du BM</a:t>
                </a:r>
              </a:p>
              <a:p>
                <a:pPr>
                  <a:defRPr/>
                </a:pPr>
                <a:r>
                  <a:rPr lang="en-GB"/>
                  <a:t>(gCO2/€</a:t>
                </a:r>
                <a:r>
                  <a:rPr lang="en-GB" err="1"/>
                  <a:t>revenu</a:t>
                </a:r>
                <a:r>
                  <a:rPr lang="en-GB"/>
                  <a:t>)</a:t>
                </a:r>
                <a:endParaRPr lang="en-FR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48289920"/>
        <c:crosses val="autoZero"/>
        <c:crossBetween val="midCat"/>
        <c:majorUnit val="50"/>
      </c:valAx>
      <c:valAx>
        <c:axId val="818972800"/>
        <c:scaling>
          <c:orientation val="minMax"/>
          <c:max val="0.2"/>
          <c:min val="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Marge EBITD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47693152"/>
        <c:crosses val="max"/>
        <c:crossBetween val="midCat"/>
        <c:majorUnit val="5.000000000000001E-2"/>
      </c:valAx>
      <c:catAx>
        <c:axId val="8476931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1897280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r"/>
      <c:layout>
        <c:manualLayout>
          <c:xMode val="edge"/>
          <c:yMode val="edge"/>
          <c:x val="0.5866477822807229"/>
          <c:y val="5.5126163103333264E-2"/>
          <c:w val="0.20224780159840258"/>
          <c:h val="0.14252965214791188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fr-FR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analyse!$B$2:$B$7427</cx:f>
        <cx:lvl ptCount="7426">
          <cx:pt idx="0">Cergy</cx:pt>
          <cx:pt idx="1">Cergy</cx:pt>
          <cx:pt idx="2">Cergy</cx:pt>
          <cx:pt idx="3">Cergy</cx:pt>
          <cx:pt idx="4">Cergy</cx:pt>
          <cx:pt idx="5">Cergy</cx:pt>
          <cx:pt idx="6">Cergy</cx:pt>
          <cx:pt idx="7">Cergy</cx:pt>
          <cx:pt idx="8">Cergy</cx:pt>
          <cx:pt idx="9">Cergy</cx:pt>
          <cx:pt idx="10">Cergy</cx:pt>
          <cx:pt idx="11">Cergy</cx:pt>
          <cx:pt idx="12">Cergy</cx:pt>
          <cx:pt idx="13">Cergy</cx:pt>
          <cx:pt idx="14">Cergy</cx:pt>
          <cx:pt idx="15">Cergy</cx:pt>
          <cx:pt idx="16">Cergy</cx:pt>
          <cx:pt idx="17">Cergy</cx:pt>
          <cx:pt idx="18">Cergy</cx:pt>
          <cx:pt idx="19">Cergy</cx:pt>
          <cx:pt idx="20">Cergy</cx:pt>
          <cx:pt idx="21">Cergy</cx:pt>
          <cx:pt idx="22">Cergy</cx:pt>
          <cx:pt idx="23">Cergy</cx:pt>
          <cx:pt idx="24">Cergy</cx:pt>
          <cx:pt idx="25">Cergy</cx:pt>
          <cx:pt idx="26">Cergy</cx:pt>
          <cx:pt idx="27">Cergy</cx:pt>
          <cx:pt idx="28">Cergy</cx:pt>
          <cx:pt idx="29">Cergy</cx:pt>
          <cx:pt idx="30">Cergy</cx:pt>
          <cx:pt idx="31">Cergy</cx:pt>
          <cx:pt idx="32">Cergy</cx:pt>
          <cx:pt idx="33">Cergy</cx:pt>
          <cx:pt idx="34">Cergy</cx:pt>
          <cx:pt idx="35">Cergy</cx:pt>
          <cx:pt idx="36">Cergy</cx:pt>
          <cx:pt idx="37">Cergy</cx:pt>
          <cx:pt idx="38">Cergy</cx:pt>
          <cx:pt idx="39">Cergy</cx:pt>
          <cx:pt idx="40">Cergy</cx:pt>
          <cx:pt idx="41">Cergy</cx:pt>
          <cx:pt idx="42">Cergy</cx:pt>
          <cx:pt idx="43">Cergy</cx:pt>
          <cx:pt idx="44">Cergy</cx:pt>
          <cx:pt idx="45">Cergy</cx:pt>
          <cx:pt idx="46">Cergy</cx:pt>
          <cx:pt idx="47">Cergy</cx:pt>
          <cx:pt idx="48">Cergy</cx:pt>
          <cx:pt idx="49">Cergy</cx:pt>
          <cx:pt idx="50">Cergy</cx:pt>
          <cx:pt idx="51">Cergy</cx:pt>
          <cx:pt idx="52">Cergy</cx:pt>
          <cx:pt idx="53">Cergy</cx:pt>
          <cx:pt idx="54">Cergy</cx:pt>
          <cx:pt idx="55">Cergy</cx:pt>
          <cx:pt idx="56">Cergy</cx:pt>
          <cx:pt idx="57">Cergy</cx:pt>
          <cx:pt idx="58">Cergy</cx:pt>
          <cx:pt idx="59">Cergy</cx:pt>
          <cx:pt idx="60">Cergy</cx:pt>
          <cx:pt idx="61">Cergy</cx:pt>
          <cx:pt idx="62">Cergy</cx:pt>
          <cx:pt idx="63">Cergy</cx:pt>
          <cx:pt idx="64">Cergy</cx:pt>
          <cx:pt idx="65">Cergy</cx:pt>
          <cx:pt idx="66">Cergy</cx:pt>
          <cx:pt idx="67">Cergy</cx:pt>
          <cx:pt idx="68">Cergy</cx:pt>
          <cx:pt idx="69">Cergy</cx:pt>
          <cx:pt idx="70">Cergy</cx:pt>
          <cx:pt idx="71">Cergy</cx:pt>
          <cx:pt idx="72">Cergy</cx:pt>
          <cx:pt idx="73">Cergy</cx:pt>
          <cx:pt idx="74">Cergy</cx:pt>
          <cx:pt idx="75">Cergy</cx:pt>
          <cx:pt idx="76">Cergy</cx:pt>
          <cx:pt idx="77">Cergy</cx:pt>
          <cx:pt idx="78">Cergy</cx:pt>
          <cx:pt idx="79">Cergy</cx:pt>
          <cx:pt idx="80">Cergy</cx:pt>
          <cx:pt idx="81">Cergy</cx:pt>
          <cx:pt idx="82">Cergy</cx:pt>
          <cx:pt idx="83">Cergy</cx:pt>
          <cx:pt idx="84">Cergy</cx:pt>
          <cx:pt idx="85">Cergy</cx:pt>
          <cx:pt idx="86">Cergy</cx:pt>
          <cx:pt idx="87">Cergy</cx:pt>
          <cx:pt idx="88">Cergy</cx:pt>
          <cx:pt idx="89">Cergy</cx:pt>
          <cx:pt idx="90">Cergy</cx:pt>
          <cx:pt idx="91">Cergy</cx:pt>
          <cx:pt idx="92">Cergy</cx:pt>
          <cx:pt idx="93">Cergy</cx:pt>
          <cx:pt idx="94">Cergy</cx:pt>
          <cx:pt idx="95">Cergy</cx:pt>
          <cx:pt idx="96">Cergy</cx:pt>
          <cx:pt idx="97">Cergy</cx:pt>
          <cx:pt idx="98">Cergy</cx:pt>
          <cx:pt idx="99">Cergy</cx:pt>
          <cx:pt idx="100">Cergy</cx:pt>
          <cx:pt idx="101">Cergy</cx:pt>
          <cx:pt idx="102">Cergy</cx:pt>
          <cx:pt idx="103">Cergy</cx:pt>
          <cx:pt idx="104">Cergy</cx:pt>
          <cx:pt idx="105">Cergy</cx:pt>
          <cx:pt idx="106">Cergy</cx:pt>
          <cx:pt idx="107">Cergy</cx:pt>
          <cx:pt idx="108">Cergy</cx:pt>
          <cx:pt idx="109">Cergy</cx:pt>
          <cx:pt idx="110">Cergy</cx:pt>
          <cx:pt idx="111">Cergy</cx:pt>
          <cx:pt idx="112">Cergy</cx:pt>
          <cx:pt idx="113">Cergy</cx:pt>
          <cx:pt idx="114">Cergy</cx:pt>
          <cx:pt idx="115">Cergy</cx:pt>
          <cx:pt idx="116">Cergy</cx:pt>
          <cx:pt idx="117">Cergy</cx:pt>
          <cx:pt idx="118">Cergy</cx:pt>
          <cx:pt idx="119">Cergy</cx:pt>
          <cx:pt idx="120">Cergy</cx:pt>
          <cx:pt idx="121">Cergy</cx:pt>
          <cx:pt idx="122">Cergy</cx:pt>
          <cx:pt idx="123">Cergy</cx:pt>
          <cx:pt idx="124">Cergy</cx:pt>
          <cx:pt idx="125">Cergy</cx:pt>
          <cx:pt idx="126">Montauban</cx:pt>
          <cx:pt idx="127">Cergy</cx:pt>
          <cx:pt idx="128">Cergy</cx:pt>
          <cx:pt idx="129">Cergy</cx:pt>
          <cx:pt idx="130">Cergy</cx:pt>
          <cx:pt idx="131">Cergy</cx:pt>
          <cx:pt idx="132">Cergy</cx:pt>
          <cx:pt idx="133">Cergy</cx:pt>
          <cx:pt idx="134">Cergy</cx:pt>
          <cx:pt idx="135">Cergy</cx:pt>
          <cx:pt idx="136">Cergy</cx:pt>
          <cx:pt idx="137">Cergy</cx:pt>
          <cx:pt idx="138">Cergy</cx:pt>
          <cx:pt idx="139">Cergy</cx:pt>
          <cx:pt idx="140">Cergy</cx:pt>
          <cx:pt idx="141">Cergy</cx:pt>
          <cx:pt idx="142">Cergy</cx:pt>
          <cx:pt idx="143">Reims</cx:pt>
          <cx:pt idx="144">Reims</cx:pt>
          <cx:pt idx="145">Reims</cx:pt>
          <cx:pt idx="146">Cergy</cx:pt>
          <cx:pt idx="147">Cergy</cx:pt>
          <cx:pt idx="148">Cergy</cx:pt>
          <cx:pt idx="149">Cergy</cx:pt>
          <cx:pt idx="150">Cergy</cx:pt>
          <cx:pt idx="151">Cergy</cx:pt>
          <cx:pt idx="152">Cergy</cx:pt>
          <cx:pt idx="153">Cergy</cx:pt>
          <cx:pt idx="154">Cergy</cx:pt>
          <cx:pt idx="155">Cergy</cx:pt>
          <cx:pt idx="156">Cergy</cx:pt>
          <cx:pt idx="157">Cergy</cx:pt>
          <cx:pt idx="158">Cergy</cx:pt>
          <cx:pt idx="159">Cergy</cx:pt>
          <cx:pt idx="160">Cergy</cx:pt>
          <cx:pt idx="161">Cergy</cx:pt>
          <cx:pt idx="162">Cergy</cx:pt>
          <cx:pt idx="163">Cergy</cx:pt>
          <cx:pt idx="164">Cergy</cx:pt>
          <cx:pt idx="165">Cergy</cx:pt>
          <cx:pt idx="166">Cergy</cx:pt>
          <cx:pt idx="167">Cergy</cx:pt>
          <cx:pt idx="168">Cergy</cx:pt>
          <cx:pt idx="169">Cergy</cx:pt>
          <cx:pt idx="170">Cergy</cx:pt>
          <cx:pt idx="171">Cergy</cx:pt>
          <cx:pt idx="172">Cergy</cx:pt>
          <cx:pt idx="173">Cergy</cx:pt>
          <cx:pt idx="174">Cergy</cx:pt>
          <cx:pt idx="175">Cergy</cx:pt>
          <cx:pt idx="176">Cergy</cx:pt>
          <cx:pt idx="177">Cergy</cx:pt>
          <cx:pt idx="178">Cergy</cx:pt>
          <cx:pt idx="179">Reims</cx:pt>
          <cx:pt idx="180">Reims</cx:pt>
          <cx:pt idx="181">Reims</cx:pt>
          <cx:pt idx="182">Reims</cx:pt>
          <cx:pt idx="183">Montauban</cx:pt>
          <cx:pt idx="184">Cergy</cx:pt>
          <cx:pt idx="185">Cergy</cx:pt>
          <cx:pt idx="186">Cergy</cx:pt>
          <cx:pt idx="187">Cergy</cx:pt>
          <cx:pt idx="188">Cergy</cx:pt>
          <cx:pt idx="189">Cergy</cx:pt>
          <cx:pt idx="190">Cergy</cx:pt>
          <cx:pt idx="191">Cergy</cx:pt>
          <cx:pt idx="192">Cergy</cx:pt>
          <cx:pt idx="193">Cergy</cx:pt>
          <cx:pt idx="194">Cergy</cx:pt>
          <cx:pt idx="195">Cergy</cx:pt>
          <cx:pt idx="196">Cergy</cx:pt>
          <cx:pt idx="197">Cergy</cx:pt>
          <cx:pt idx="198">Cergy</cx:pt>
          <cx:pt idx="199">Montauban</cx:pt>
          <cx:pt idx="200">Cergy</cx:pt>
          <cx:pt idx="201">Cergy</cx:pt>
          <cx:pt idx="202">Reims</cx:pt>
          <cx:pt idx="203">Reims</cx:pt>
          <cx:pt idx="204">Reims</cx:pt>
          <cx:pt idx="205">Reims</cx:pt>
          <cx:pt idx="206">Reims</cx:pt>
          <cx:pt idx="207">Reims</cx:pt>
          <cx:pt idx="208">Reims</cx:pt>
          <cx:pt idx="209">Reims</cx:pt>
          <cx:pt idx="210">Reims</cx:pt>
          <cx:pt idx="211">Reims</cx:pt>
          <cx:pt idx="212">Reims</cx:pt>
          <cx:pt idx="213">Cergy</cx:pt>
          <cx:pt idx="214">Cergy</cx:pt>
          <cx:pt idx="215">Cergy</cx:pt>
          <cx:pt idx="216">Montauban</cx:pt>
          <cx:pt idx="217">Montauban</cx:pt>
          <cx:pt idx="218">Cergy</cx:pt>
          <cx:pt idx="219">Cergy</cx:pt>
          <cx:pt idx="220">Cergy</cx:pt>
          <cx:pt idx="221">Cergy</cx:pt>
          <cx:pt idx="222">Cergy</cx:pt>
          <cx:pt idx="223">Cergy</cx:pt>
          <cx:pt idx="224">Cergy</cx:pt>
          <cx:pt idx="225">Cergy</cx:pt>
          <cx:pt idx="226">Cergy</cx:pt>
          <cx:pt idx="227">Cergy</cx:pt>
          <cx:pt idx="228">Cergy</cx:pt>
          <cx:pt idx="229">Cergy</cx:pt>
          <cx:pt idx="230">Cergy</cx:pt>
          <cx:pt idx="231">Cergy</cx:pt>
          <cx:pt idx="232">Cergy</cx:pt>
          <cx:pt idx="233">Cergy</cx:pt>
          <cx:pt idx="234">Cergy</cx:pt>
          <cx:pt idx="235">Cergy</cx:pt>
          <cx:pt idx="236">Cergy</cx:pt>
          <cx:pt idx="237">Cergy</cx:pt>
          <cx:pt idx="238">Cergy</cx:pt>
          <cx:pt idx="239">Cergy</cx:pt>
          <cx:pt idx="240">Cergy</cx:pt>
          <cx:pt idx="241">Cergy</cx:pt>
          <cx:pt idx="242">Cergy</cx:pt>
          <cx:pt idx="243">Cergy</cx:pt>
          <cx:pt idx="244">Cergy</cx:pt>
          <cx:pt idx="245">Cergy</cx:pt>
          <cx:pt idx="246">Cergy</cx:pt>
          <cx:pt idx="247">Cergy</cx:pt>
          <cx:pt idx="248">Cergy</cx:pt>
          <cx:pt idx="249">Cergy</cx:pt>
          <cx:pt idx="250">Cergy</cx:pt>
          <cx:pt idx="251">Cergy</cx:pt>
          <cx:pt idx="252">Cergy</cx:pt>
          <cx:pt idx="253">Cergy</cx:pt>
          <cx:pt idx="254">Cergy</cx:pt>
          <cx:pt idx="255">Cergy</cx:pt>
          <cx:pt idx="256">Cergy</cx:pt>
          <cx:pt idx="257">Cergy</cx:pt>
          <cx:pt idx="258">Cergy</cx:pt>
          <cx:pt idx="259">Cergy</cx:pt>
          <cx:pt idx="260">Cergy</cx:pt>
          <cx:pt idx="261">Cergy</cx:pt>
          <cx:pt idx="262">Cergy</cx:pt>
          <cx:pt idx="263">Reims</cx:pt>
          <cx:pt idx="264">Reims</cx:pt>
          <cx:pt idx="265">Reims</cx:pt>
          <cx:pt idx="266">Reims</cx:pt>
          <cx:pt idx="267">Cergy</cx:pt>
          <cx:pt idx="268">Reims</cx:pt>
          <cx:pt idx="269">Reims</cx:pt>
          <cx:pt idx="270">Reims</cx:pt>
          <cx:pt idx="271">Reims</cx:pt>
          <cx:pt idx="272">Reims</cx:pt>
          <cx:pt idx="273">Reims</cx:pt>
          <cx:pt idx="274">Reims</cx:pt>
          <cx:pt idx="275">Reims</cx:pt>
          <cx:pt idx="276">Reims</cx:pt>
          <cx:pt idx="277">Reims</cx:pt>
          <cx:pt idx="278">Reims</cx:pt>
          <cx:pt idx="279">Reims</cx:pt>
          <cx:pt idx="280">Reims</cx:pt>
          <cx:pt idx="281">Cergy</cx:pt>
          <cx:pt idx="282">Cergy</cx:pt>
          <cx:pt idx="283">Reims</cx:pt>
          <cx:pt idx="284">Cergy</cx:pt>
          <cx:pt idx="285">Cergy</cx:pt>
          <cx:pt idx="286">Cergy</cx:pt>
          <cx:pt idx="287">Cergy</cx:pt>
          <cx:pt idx="288">Cergy</cx:pt>
          <cx:pt idx="289">Cergy</cx:pt>
          <cx:pt idx="290">Cergy</cx:pt>
          <cx:pt idx="291">Cergy</cx:pt>
          <cx:pt idx="292">Cergy</cx:pt>
          <cx:pt idx="293">Cergy</cx:pt>
          <cx:pt idx="294">Cergy</cx:pt>
          <cx:pt idx="295">Cergy</cx:pt>
          <cx:pt idx="296">Cergy</cx:pt>
          <cx:pt idx="297">Cergy</cx:pt>
          <cx:pt idx="298">Cergy</cx:pt>
          <cx:pt idx="299">Cergy</cx:pt>
          <cx:pt idx="300">Cergy</cx:pt>
          <cx:pt idx="301">Cergy</cx:pt>
          <cx:pt idx="302">Cergy</cx:pt>
          <cx:pt idx="303">Cergy</cx:pt>
          <cx:pt idx="304">Cergy</cx:pt>
          <cx:pt idx="305">Cergy</cx:pt>
          <cx:pt idx="306">Cergy</cx:pt>
          <cx:pt idx="307">Cergy</cx:pt>
          <cx:pt idx="308">Cergy</cx:pt>
          <cx:pt idx="309">Cergy</cx:pt>
          <cx:pt idx="310">Cergy</cx:pt>
          <cx:pt idx="311">Cergy</cx:pt>
          <cx:pt idx="312">Cergy</cx:pt>
          <cx:pt idx="313">Cergy</cx:pt>
          <cx:pt idx="314">Reims</cx:pt>
          <cx:pt idx="315">Cergy</cx:pt>
          <cx:pt idx="316">Reims</cx:pt>
          <cx:pt idx="317">Reims</cx:pt>
          <cx:pt idx="318">Cergy</cx:pt>
          <cx:pt idx="319">Cergy</cx:pt>
          <cx:pt idx="320">Montauban</cx:pt>
          <cx:pt idx="321">Montauban</cx:pt>
          <cx:pt idx="322">Montauban</cx:pt>
          <cx:pt idx="323">Montauban</cx:pt>
          <cx:pt idx="324">Montauban</cx:pt>
          <cx:pt idx="325">Montauban</cx:pt>
          <cx:pt idx="326">Montauban</cx:pt>
          <cx:pt idx="327">Montauban</cx:pt>
          <cx:pt idx="328">Montauban</cx:pt>
          <cx:pt idx="329">Montauban</cx:pt>
          <cx:pt idx="330">Montauban</cx:pt>
          <cx:pt idx="331">Montauban</cx:pt>
          <cx:pt idx="332">Montauban</cx:pt>
          <cx:pt idx="333">Montauban</cx:pt>
          <cx:pt idx="334">Montauban</cx:pt>
          <cx:pt idx="335">Montauban</cx:pt>
          <cx:pt idx="336">Montauban</cx:pt>
          <cx:pt idx="337">Montauban</cx:pt>
          <cx:pt idx="338">Montauban</cx:pt>
          <cx:pt idx="339">Montauban</cx:pt>
          <cx:pt idx="340">Montauban</cx:pt>
          <cx:pt idx="341">Montauban</cx:pt>
          <cx:pt idx="342">Montauban</cx:pt>
          <cx:pt idx="343">Montauban</cx:pt>
          <cx:pt idx="344">Montauban</cx:pt>
          <cx:pt idx="345">Montauban</cx:pt>
          <cx:pt idx="346">Montauban</cx:pt>
          <cx:pt idx="347">Montauban</cx:pt>
          <cx:pt idx="348">Montauban</cx:pt>
          <cx:pt idx="349">Montauban</cx:pt>
          <cx:pt idx="350">Montauban</cx:pt>
          <cx:pt idx="351">Montauban</cx:pt>
          <cx:pt idx="352">Montauban</cx:pt>
          <cx:pt idx="353">Montauban</cx:pt>
          <cx:pt idx="354">Montauban</cx:pt>
          <cx:pt idx="355">Montauban</cx:pt>
          <cx:pt idx="356">Montauban</cx:pt>
          <cx:pt idx="357">Montauban</cx:pt>
          <cx:pt idx="358">Cergy</cx:pt>
          <cx:pt idx="359">Cergy</cx:pt>
          <cx:pt idx="360">Cergy</cx:pt>
          <cx:pt idx="361">Cergy</cx:pt>
          <cx:pt idx="362">Cergy</cx:pt>
          <cx:pt idx="363">Cergy</cx:pt>
          <cx:pt idx="364">Cergy</cx:pt>
          <cx:pt idx="365">Cergy</cx:pt>
          <cx:pt idx="366">Cergy</cx:pt>
          <cx:pt idx="367">Cergy</cx:pt>
          <cx:pt idx="368">Cergy</cx:pt>
          <cx:pt idx="369">Cergy</cx:pt>
          <cx:pt idx="370">Cergy</cx:pt>
          <cx:pt idx="371">Cergy</cx:pt>
          <cx:pt idx="372">Cergy</cx:pt>
          <cx:pt idx="373">Cergy</cx:pt>
          <cx:pt idx="374">Cergy</cx:pt>
          <cx:pt idx="375">Cergy</cx:pt>
          <cx:pt idx="376">Cergy</cx:pt>
          <cx:pt idx="377">Cergy</cx:pt>
          <cx:pt idx="378">Cergy</cx:pt>
          <cx:pt idx="379">Cergy</cx:pt>
          <cx:pt idx="380">Cergy</cx:pt>
          <cx:pt idx="381">Cergy</cx:pt>
          <cx:pt idx="382">Cergy</cx:pt>
          <cx:pt idx="383">Cergy</cx:pt>
          <cx:pt idx="384">Cergy</cx:pt>
          <cx:pt idx="385">Cergy</cx:pt>
          <cx:pt idx="386">Cergy</cx:pt>
          <cx:pt idx="387">Cergy</cx:pt>
          <cx:pt idx="388">Cergy</cx:pt>
          <cx:pt idx="389">Cergy</cx:pt>
          <cx:pt idx="390">Cergy</cx:pt>
          <cx:pt idx="391">Reims</cx:pt>
          <cx:pt idx="392">Reims</cx:pt>
          <cx:pt idx="393">Cergy</cx:pt>
          <cx:pt idx="394">Cergy</cx:pt>
          <cx:pt idx="395">Cergy</cx:pt>
          <cx:pt idx="396">Cergy</cx:pt>
          <cx:pt idx="397">Cergy</cx:pt>
          <cx:pt idx="398">Cergy</cx:pt>
          <cx:pt idx="399">Cergy</cx:pt>
          <cx:pt idx="400">Cergy</cx:pt>
          <cx:pt idx="401">Cergy</cx:pt>
          <cx:pt idx="402">Cergy</cx:pt>
          <cx:pt idx="403">Cergy</cx:pt>
          <cx:pt idx="404">Cergy</cx:pt>
          <cx:pt idx="405">Cergy</cx:pt>
          <cx:pt idx="406">Cergy</cx:pt>
          <cx:pt idx="407">Cergy</cx:pt>
          <cx:pt idx="408">Cergy</cx:pt>
          <cx:pt idx="409">Cergy</cx:pt>
          <cx:pt idx="410">Cergy</cx:pt>
          <cx:pt idx="411">Cergy</cx:pt>
          <cx:pt idx="412">Cergy</cx:pt>
          <cx:pt idx="413">Cergy</cx:pt>
          <cx:pt idx="414">Cergy</cx:pt>
          <cx:pt idx="415">Cergy</cx:pt>
          <cx:pt idx="416">Cergy</cx:pt>
          <cx:pt idx="417">Cergy</cx:pt>
          <cx:pt idx="418">Cergy</cx:pt>
          <cx:pt idx="419">Cergy</cx:pt>
          <cx:pt idx="420">Cergy</cx:pt>
          <cx:pt idx="421">Cergy</cx:pt>
          <cx:pt idx="422">Cergy</cx:pt>
          <cx:pt idx="423">Cergy</cx:pt>
          <cx:pt idx="424">Cergy</cx:pt>
          <cx:pt idx="425">Cergy</cx:pt>
          <cx:pt idx="426">Cergy</cx:pt>
          <cx:pt idx="427">Cergy</cx:pt>
          <cx:pt idx="428">Cergy</cx:pt>
          <cx:pt idx="429">Cergy</cx:pt>
          <cx:pt idx="430">Cergy</cx:pt>
          <cx:pt idx="431">Cergy</cx:pt>
          <cx:pt idx="432">Cergy</cx:pt>
          <cx:pt idx="433">Cergy</cx:pt>
          <cx:pt idx="434">Cergy</cx:pt>
          <cx:pt idx="435">Cergy</cx:pt>
          <cx:pt idx="436">Cergy</cx:pt>
          <cx:pt idx="437">Cergy</cx:pt>
          <cx:pt idx="438">Cergy</cx:pt>
          <cx:pt idx="439">Cergy</cx:pt>
          <cx:pt idx="440">Cergy</cx:pt>
          <cx:pt idx="441">Cergy</cx:pt>
          <cx:pt idx="442">Cergy</cx:pt>
          <cx:pt idx="443">Cergy</cx:pt>
          <cx:pt idx="444">Cergy</cx:pt>
          <cx:pt idx="445">Cergy</cx:pt>
          <cx:pt idx="446">Cergy</cx:pt>
          <cx:pt idx="447">Cergy</cx:pt>
          <cx:pt idx="448">Cergy</cx:pt>
          <cx:pt idx="449">Cergy</cx:pt>
          <cx:pt idx="450">Cergy</cx:pt>
          <cx:pt idx="451">Cergy</cx:pt>
          <cx:pt idx="452">Reims</cx:pt>
          <cx:pt idx="453">Montauban</cx:pt>
          <cx:pt idx="454">Reims</cx:pt>
          <cx:pt idx="455">Reims</cx:pt>
          <cx:pt idx="456">Reims</cx:pt>
          <cx:pt idx="457">Reims</cx:pt>
          <cx:pt idx="458">Reims</cx:pt>
          <cx:pt idx="459">Reims</cx:pt>
          <cx:pt idx="460">Reims</cx:pt>
          <cx:pt idx="461">Reims</cx:pt>
          <cx:pt idx="462">Cergy</cx:pt>
          <cx:pt idx="463">Cergy</cx:pt>
          <cx:pt idx="464">Reims</cx:pt>
          <cx:pt idx="465">Cergy</cx:pt>
          <cx:pt idx="466">Reims</cx:pt>
          <cx:pt idx="467">Reims</cx:pt>
          <cx:pt idx="468">Reims</cx:pt>
          <cx:pt idx="469">Reims</cx:pt>
          <cx:pt idx="470">Reims</cx:pt>
          <cx:pt idx="471">Reims</cx:pt>
          <cx:pt idx="472">Reims</cx:pt>
          <cx:pt idx="473">Reims</cx:pt>
          <cx:pt idx="474">Reims</cx:pt>
          <cx:pt idx="475">Reims</cx:pt>
          <cx:pt idx="476">Reims</cx:pt>
          <cx:pt idx="477">Reims</cx:pt>
          <cx:pt idx="478">Reims</cx:pt>
          <cx:pt idx="479">Reims</cx:pt>
          <cx:pt idx="480">Reims</cx:pt>
          <cx:pt idx="481">Reims</cx:pt>
          <cx:pt idx="482">Reims</cx:pt>
          <cx:pt idx="483">Reims</cx:pt>
          <cx:pt idx="484">Reims</cx:pt>
          <cx:pt idx="485">Reims</cx:pt>
          <cx:pt idx="486">Reims</cx:pt>
          <cx:pt idx="487">Reims</cx:pt>
          <cx:pt idx="488">Reims</cx:pt>
          <cx:pt idx="489">Reims</cx:pt>
          <cx:pt idx="490">Reims</cx:pt>
          <cx:pt idx="491">Reims</cx:pt>
          <cx:pt idx="492">Reims</cx:pt>
          <cx:pt idx="493">Montauban</cx:pt>
          <cx:pt idx="494">Montauban</cx:pt>
          <cx:pt idx="495">Montauban</cx:pt>
          <cx:pt idx="496">Montauban</cx:pt>
          <cx:pt idx="497">Montauban</cx:pt>
          <cx:pt idx="498">Montauban</cx:pt>
          <cx:pt idx="499">Montauban</cx:pt>
          <cx:pt idx="500">Montauban</cx:pt>
          <cx:pt idx="501">Montauban</cx:pt>
          <cx:pt idx="502">Montauban</cx:pt>
          <cx:pt idx="503">Montauban</cx:pt>
          <cx:pt idx="504">Montauban</cx:pt>
          <cx:pt idx="505">Montauban</cx:pt>
          <cx:pt idx="506">Montauban</cx:pt>
          <cx:pt idx="507">Montauban</cx:pt>
          <cx:pt idx="508">Montauban</cx:pt>
          <cx:pt idx="509">Montauban</cx:pt>
          <cx:pt idx="510">Cergy</cx:pt>
          <cx:pt idx="511">Cergy</cx:pt>
          <cx:pt idx="512">Reims</cx:pt>
          <cx:pt idx="513">Cergy</cx:pt>
          <cx:pt idx="514">Cergy</cx:pt>
          <cx:pt idx="515">Cergy</cx:pt>
          <cx:pt idx="516">Cergy</cx:pt>
          <cx:pt idx="517">Cergy</cx:pt>
          <cx:pt idx="518">Cergy</cx:pt>
          <cx:pt idx="519">Cergy</cx:pt>
          <cx:pt idx="520">Cergy</cx:pt>
          <cx:pt idx="521">Cergy</cx:pt>
          <cx:pt idx="522">Cergy</cx:pt>
          <cx:pt idx="523">Cergy</cx:pt>
          <cx:pt idx="524">Cergy</cx:pt>
          <cx:pt idx="525">Cergy</cx:pt>
          <cx:pt idx="526">Cergy</cx:pt>
          <cx:pt idx="527">Cergy</cx:pt>
          <cx:pt idx="528">Cergy</cx:pt>
          <cx:pt idx="529">Cergy</cx:pt>
          <cx:pt idx="530">Cergy</cx:pt>
          <cx:pt idx="531">Montauban</cx:pt>
          <cx:pt idx="532">Montauban</cx:pt>
          <cx:pt idx="533">Montauban</cx:pt>
          <cx:pt idx="534">Montauban</cx:pt>
          <cx:pt idx="535">Montauban</cx:pt>
          <cx:pt idx="536">Montauban</cx:pt>
          <cx:pt idx="537">Montauban</cx:pt>
          <cx:pt idx="538">Montauban</cx:pt>
          <cx:pt idx="539">Montauban</cx:pt>
          <cx:pt idx="540">Montauban</cx:pt>
          <cx:pt idx="541">Montauban</cx:pt>
          <cx:pt idx="542">Montauban</cx:pt>
          <cx:pt idx="543">Montauban</cx:pt>
          <cx:pt idx="544">Montauban</cx:pt>
          <cx:pt idx="545">Montauban</cx:pt>
          <cx:pt idx="546">Montauban</cx:pt>
          <cx:pt idx="547">Montauban</cx:pt>
          <cx:pt idx="548">Montauban</cx:pt>
          <cx:pt idx="549">Montauban</cx:pt>
          <cx:pt idx="550">Montauban</cx:pt>
          <cx:pt idx="551">Montauban</cx:pt>
          <cx:pt idx="552">Cergy</cx:pt>
          <cx:pt idx="553">Cergy</cx:pt>
          <cx:pt idx="554">Cergy</cx:pt>
          <cx:pt idx="555">Cergy</cx:pt>
          <cx:pt idx="556">Cergy</cx:pt>
          <cx:pt idx="557">Cergy</cx:pt>
          <cx:pt idx="558">Cergy</cx:pt>
          <cx:pt idx="559">Cergy</cx:pt>
          <cx:pt idx="560">Cergy</cx:pt>
          <cx:pt idx="561">Cergy</cx:pt>
          <cx:pt idx="562">Cergy</cx:pt>
          <cx:pt idx="563">Cergy</cx:pt>
          <cx:pt idx="564">Cergy</cx:pt>
          <cx:pt idx="565">Cergy</cx:pt>
          <cx:pt idx="566">Cergy</cx:pt>
          <cx:pt idx="567">Cergy</cx:pt>
          <cx:pt idx="568">Cergy</cx:pt>
          <cx:pt idx="569">Cergy</cx:pt>
          <cx:pt idx="570">Cergy</cx:pt>
          <cx:pt idx="571">Reims</cx:pt>
          <cx:pt idx="572">Cergy</cx:pt>
          <cx:pt idx="573">Reims</cx:pt>
          <cx:pt idx="574">Reims</cx:pt>
          <cx:pt idx="575">Reims</cx:pt>
          <cx:pt idx="576">Reims</cx:pt>
          <cx:pt idx="577">Reims</cx:pt>
          <cx:pt idx="578">Montauban</cx:pt>
          <cx:pt idx="579">Montauban</cx:pt>
          <cx:pt idx="580">Montauban</cx:pt>
          <cx:pt idx="581">Montauban</cx:pt>
          <cx:pt idx="582">Montauban</cx:pt>
          <cx:pt idx="583">Montauban</cx:pt>
          <cx:pt idx="584">Montauban</cx:pt>
          <cx:pt idx="585">Montauban</cx:pt>
          <cx:pt idx="586">Montauban</cx:pt>
          <cx:pt idx="587">Reims</cx:pt>
          <cx:pt idx="588">Reims</cx:pt>
          <cx:pt idx="589">Reims</cx:pt>
          <cx:pt idx="590">Reims</cx:pt>
          <cx:pt idx="591">Reims</cx:pt>
          <cx:pt idx="592">Reims</cx:pt>
          <cx:pt idx="593">Reims</cx:pt>
          <cx:pt idx="594">Reims</cx:pt>
          <cx:pt idx="595">Reims</cx:pt>
          <cx:pt idx="596">Reims</cx:pt>
          <cx:pt idx="597">Reims</cx:pt>
          <cx:pt idx="598">Montauban</cx:pt>
          <cx:pt idx="599">Montauban</cx:pt>
          <cx:pt idx="600">Montauban</cx:pt>
          <cx:pt idx="601">Reims</cx:pt>
          <cx:pt idx="602">Reims</cx:pt>
          <cx:pt idx="603">Reims</cx:pt>
          <cx:pt idx="604">Reims</cx:pt>
          <cx:pt idx="605">Reims</cx:pt>
          <cx:pt idx="606">Reims</cx:pt>
          <cx:pt idx="607">Reims</cx:pt>
          <cx:pt idx="608">Reims</cx:pt>
          <cx:pt idx="609">Reims</cx:pt>
          <cx:pt idx="610">Reims</cx:pt>
          <cx:pt idx="611">Montauban</cx:pt>
          <cx:pt idx="612">Montauban</cx:pt>
          <cx:pt idx="613">Montauban</cx:pt>
          <cx:pt idx="614">Montauban</cx:pt>
          <cx:pt idx="615">Montauban</cx:pt>
          <cx:pt idx="616">Cergy</cx:pt>
          <cx:pt idx="617">Reims</cx:pt>
          <cx:pt idx="618">Montauban</cx:pt>
          <cx:pt idx="619">Montauban</cx:pt>
          <cx:pt idx="620">Montauban</cx:pt>
          <cx:pt idx="621">Montauban</cx:pt>
          <cx:pt idx="622">Montauban</cx:pt>
          <cx:pt idx="623">Montauban</cx:pt>
          <cx:pt idx="624">Reims</cx:pt>
          <cx:pt idx="625">Reims</cx:pt>
          <cx:pt idx="626">Reims</cx:pt>
          <cx:pt idx="627">Reims</cx:pt>
          <cx:pt idx="628">Reims</cx:pt>
          <cx:pt idx="629">Reims</cx:pt>
          <cx:pt idx="630">Reims</cx:pt>
          <cx:pt idx="631">Reims</cx:pt>
          <cx:pt idx="632">Avignon</cx:pt>
          <cx:pt idx="633">Reims</cx:pt>
          <cx:pt idx="634">Reims</cx:pt>
          <cx:pt idx="635">Reims</cx:pt>
          <cx:pt idx="636">Reims</cx:pt>
          <cx:pt idx="637">Reims</cx:pt>
          <cx:pt idx="638">Montauban</cx:pt>
          <cx:pt idx="639">Montauban</cx:pt>
          <cx:pt idx="640">Montauban</cx:pt>
          <cx:pt idx="641">Montauban</cx:pt>
          <cx:pt idx="642">Montauban</cx:pt>
          <cx:pt idx="643">Reims</cx:pt>
          <cx:pt idx="644">Reims</cx:pt>
          <cx:pt idx="645">Montauban</cx:pt>
          <cx:pt idx="646">Cergy</cx:pt>
          <cx:pt idx="647">Cergy</cx:pt>
          <cx:pt idx="648">Cergy</cx:pt>
          <cx:pt idx="649">Cergy</cx:pt>
          <cx:pt idx="650">Cergy</cx:pt>
          <cx:pt idx="651">Cergy</cx:pt>
          <cx:pt idx="652">Cergy</cx:pt>
          <cx:pt idx="653">Cergy</cx:pt>
          <cx:pt idx="654">Cergy</cx:pt>
          <cx:pt idx="655">Cergy</cx:pt>
          <cx:pt idx="656">Reims</cx:pt>
          <cx:pt idx="657">Reims</cx:pt>
          <cx:pt idx="658">Reims</cx:pt>
          <cx:pt idx="659">Reims</cx:pt>
          <cx:pt idx="660">Reims</cx:pt>
          <cx:pt idx="661">Reims</cx:pt>
          <cx:pt idx="662">Reims</cx:pt>
          <cx:pt idx="663">Reims</cx:pt>
          <cx:pt idx="664">Reims</cx:pt>
          <cx:pt idx="665">Reims</cx:pt>
          <cx:pt idx="666">Reims</cx:pt>
          <cx:pt idx="667">Reims</cx:pt>
          <cx:pt idx="668">Reims</cx:pt>
          <cx:pt idx="669">Reims</cx:pt>
          <cx:pt idx="670">Reims</cx:pt>
          <cx:pt idx="671">Reims</cx:pt>
          <cx:pt idx="672">Reims</cx:pt>
          <cx:pt idx="673">Reims</cx:pt>
          <cx:pt idx="674">Reims</cx:pt>
          <cx:pt idx="675">Reims</cx:pt>
          <cx:pt idx="676">Reims</cx:pt>
          <cx:pt idx="677">Reims</cx:pt>
          <cx:pt idx="678">Reims</cx:pt>
          <cx:pt idx="679">Reims</cx:pt>
          <cx:pt idx="680">Reims</cx:pt>
          <cx:pt idx="681">Reims</cx:pt>
          <cx:pt idx="682">Reims</cx:pt>
          <cx:pt idx="683">Reims</cx:pt>
          <cx:pt idx="684">Reims</cx:pt>
          <cx:pt idx="685">Reims</cx:pt>
          <cx:pt idx="686">Reims</cx:pt>
          <cx:pt idx="687">Reims</cx:pt>
          <cx:pt idx="688">Reims</cx:pt>
          <cx:pt idx="689">Reims</cx:pt>
          <cx:pt idx="690">Reims</cx:pt>
          <cx:pt idx="691">Montauban</cx:pt>
          <cx:pt idx="692">Montauban</cx:pt>
          <cx:pt idx="693">Montauban</cx:pt>
          <cx:pt idx="694">Reims</cx:pt>
          <cx:pt idx="695">Avignon</cx:pt>
          <cx:pt idx="696">Cergy</cx:pt>
          <cx:pt idx="697">Cergy</cx:pt>
          <cx:pt idx="698">Cergy</cx:pt>
          <cx:pt idx="699">Cergy</cx:pt>
          <cx:pt idx="700">Cergy</cx:pt>
          <cx:pt idx="701">Reims</cx:pt>
          <cx:pt idx="702">Reims</cx:pt>
          <cx:pt idx="703">Reims</cx:pt>
          <cx:pt idx="704">Reims</cx:pt>
          <cx:pt idx="705">Reims</cx:pt>
          <cx:pt idx="706">Reims</cx:pt>
          <cx:pt idx="707">Reims</cx:pt>
          <cx:pt idx="708">Reims</cx:pt>
          <cx:pt idx="709">Reims</cx:pt>
          <cx:pt idx="710">Reims</cx:pt>
          <cx:pt idx="711">Reims</cx:pt>
          <cx:pt idx="712">Reims</cx:pt>
          <cx:pt idx="713">Reims</cx:pt>
          <cx:pt idx="714">Reims</cx:pt>
          <cx:pt idx="715">Reims</cx:pt>
          <cx:pt idx="716">Reims</cx:pt>
          <cx:pt idx="717">Reims</cx:pt>
          <cx:pt idx="718">Reims</cx:pt>
          <cx:pt idx="719">Reims</cx:pt>
          <cx:pt idx="720">Reims</cx:pt>
          <cx:pt idx="721">Reims</cx:pt>
          <cx:pt idx="722">Reims</cx:pt>
          <cx:pt idx="723">Reims</cx:pt>
          <cx:pt idx="724">Reims</cx:pt>
          <cx:pt idx="725">Reims</cx:pt>
          <cx:pt idx="726">Reims</cx:pt>
          <cx:pt idx="727">Reims</cx:pt>
          <cx:pt idx="728">Reims</cx:pt>
          <cx:pt idx="729">Reims</cx:pt>
          <cx:pt idx="730">Reims</cx:pt>
          <cx:pt idx="731">Reims</cx:pt>
          <cx:pt idx="732">Reims</cx:pt>
          <cx:pt idx="733">Reims</cx:pt>
          <cx:pt idx="734">Reims</cx:pt>
          <cx:pt idx="735">Reims</cx:pt>
          <cx:pt idx="736">Reims</cx:pt>
          <cx:pt idx="737">Cergy</cx:pt>
          <cx:pt idx="738">Cergy</cx:pt>
          <cx:pt idx="739">Cergy</cx:pt>
          <cx:pt idx="740">Cergy</cx:pt>
          <cx:pt idx="741">Cergy</cx:pt>
          <cx:pt idx="742">Cergy</cx:pt>
          <cx:pt idx="743">Cergy</cx:pt>
          <cx:pt idx="744">Cergy</cx:pt>
          <cx:pt idx="745">Reims</cx:pt>
          <cx:pt idx="746">Reims</cx:pt>
          <cx:pt idx="747">Reims</cx:pt>
          <cx:pt idx="748">Reims</cx:pt>
          <cx:pt idx="749">Reims</cx:pt>
          <cx:pt idx="750">Reims</cx:pt>
          <cx:pt idx="751">Reims</cx:pt>
          <cx:pt idx="752">Reims</cx:pt>
          <cx:pt idx="753">Reims</cx:pt>
          <cx:pt idx="754">Reims</cx:pt>
          <cx:pt idx="755">Reims</cx:pt>
          <cx:pt idx="756">Reims</cx:pt>
          <cx:pt idx="757">Reims</cx:pt>
          <cx:pt idx="758">Reims</cx:pt>
          <cx:pt idx="759">Reims</cx:pt>
          <cx:pt idx="760">Reims</cx:pt>
          <cx:pt idx="761">Reims</cx:pt>
          <cx:pt idx="762">Reims</cx:pt>
          <cx:pt idx="763">Reims</cx:pt>
          <cx:pt idx="764">Reims</cx:pt>
          <cx:pt idx="765">Reims</cx:pt>
          <cx:pt idx="766">Reims</cx:pt>
          <cx:pt idx="767">Reims</cx:pt>
          <cx:pt idx="768">Reims</cx:pt>
          <cx:pt idx="769">Reims</cx:pt>
          <cx:pt idx="770">Reims</cx:pt>
          <cx:pt idx="771">Reims</cx:pt>
          <cx:pt idx="772">Reims</cx:pt>
          <cx:pt idx="773">Reims</cx:pt>
          <cx:pt idx="774">Reims</cx:pt>
          <cx:pt idx="775">Reims</cx:pt>
          <cx:pt idx="776">Reims</cx:pt>
          <cx:pt idx="777">Reims</cx:pt>
          <cx:pt idx="778">Reims</cx:pt>
          <cx:pt idx="779">Reims</cx:pt>
          <cx:pt idx="780">Reims</cx:pt>
          <cx:pt idx="781">Reims</cx:pt>
          <cx:pt idx="782">Reims</cx:pt>
          <cx:pt idx="783">Reims</cx:pt>
          <cx:pt idx="784">Reims</cx:pt>
          <cx:pt idx="785">Reims</cx:pt>
          <cx:pt idx="786">Reims</cx:pt>
          <cx:pt idx="787">Reims</cx:pt>
          <cx:pt idx="788">Reims</cx:pt>
          <cx:pt idx="789">Reims</cx:pt>
          <cx:pt idx="790">Reims</cx:pt>
          <cx:pt idx="791">Reims</cx:pt>
          <cx:pt idx="792">Reims</cx:pt>
          <cx:pt idx="793">Reims</cx:pt>
          <cx:pt idx="794">Reims</cx:pt>
          <cx:pt idx="795">Reims</cx:pt>
          <cx:pt idx="796">Reims</cx:pt>
          <cx:pt idx="797">Reims</cx:pt>
          <cx:pt idx="798">Reims</cx:pt>
          <cx:pt idx="799">Reims</cx:pt>
          <cx:pt idx="800">Reims</cx:pt>
          <cx:pt idx="801">Reims</cx:pt>
          <cx:pt idx="802">Reims</cx:pt>
          <cx:pt idx="803">Reims</cx:pt>
          <cx:pt idx="804">Reims</cx:pt>
          <cx:pt idx="805">Reims</cx:pt>
          <cx:pt idx="806">Reims</cx:pt>
          <cx:pt idx="807">Reims</cx:pt>
          <cx:pt idx="808">Reims</cx:pt>
          <cx:pt idx="809">Reims</cx:pt>
          <cx:pt idx="810">Reims</cx:pt>
          <cx:pt idx="811">Reims</cx:pt>
          <cx:pt idx="812">Reims</cx:pt>
          <cx:pt idx="813">Reims</cx:pt>
          <cx:pt idx="814">Reims</cx:pt>
          <cx:pt idx="815">Reims</cx:pt>
          <cx:pt idx="816">Reims</cx:pt>
          <cx:pt idx="817">Reims</cx:pt>
          <cx:pt idx="818">Reims</cx:pt>
          <cx:pt idx="819">Montauban</cx:pt>
          <cx:pt idx="820">Montauban</cx:pt>
          <cx:pt idx="821">Montauban</cx:pt>
          <cx:pt idx="822">Montauban</cx:pt>
          <cx:pt idx="823">Montauban</cx:pt>
          <cx:pt idx="824">Montauban</cx:pt>
          <cx:pt idx="825">Montauban</cx:pt>
          <cx:pt idx="826">Montauban</cx:pt>
          <cx:pt idx="827">Montauban</cx:pt>
          <cx:pt idx="828">Montauban</cx:pt>
          <cx:pt idx="829">Montauban</cx:pt>
          <cx:pt idx="830">Montauban</cx:pt>
          <cx:pt idx="831">Montauban</cx:pt>
          <cx:pt idx="832">Montauban</cx:pt>
          <cx:pt idx="833">Montauban</cx:pt>
          <cx:pt idx="834">Montauban</cx:pt>
          <cx:pt idx="835">Montauban</cx:pt>
          <cx:pt idx="836">Montauban</cx:pt>
          <cx:pt idx="837">Reims</cx:pt>
          <cx:pt idx="838">Cergy</cx:pt>
          <cx:pt idx="839">Cergy</cx:pt>
          <cx:pt idx="840">Cergy</cx:pt>
          <cx:pt idx="841">Cergy</cx:pt>
          <cx:pt idx="842">Cergy</cx:pt>
          <cx:pt idx="843">Cergy</cx:pt>
          <cx:pt idx="844">Cergy</cx:pt>
          <cx:pt idx="845">Cergy</cx:pt>
          <cx:pt idx="846">Cergy</cx:pt>
          <cx:pt idx="847">Cergy</cx:pt>
          <cx:pt idx="848">Cergy</cx:pt>
          <cx:pt idx="849">Cergy</cx:pt>
          <cx:pt idx="850">Cergy</cx:pt>
          <cx:pt idx="851">Cergy</cx:pt>
          <cx:pt idx="852">Cergy</cx:pt>
          <cx:pt idx="853">Cergy</cx:pt>
          <cx:pt idx="854">Cergy</cx:pt>
          <cx:pt idx="855">Cergy</cx:pt>
          <cx:pt idx="856">Cergy</cx:pt>
          <cx:pt idx="857">Cergy</cx:pt>
          <cx:pt idx="858">Cergy</cx:pt>
          <cx:pt idx="859">Cergy</cx:pt>
          <cx:pt idx="860">Cergy</cx:pt>
          <cx:pt idx="861">Cergy</cx:pt>
          <cx:pt idx="862">Cergy</cx:pt>
          <cx:pt idx="863">Reims</cx:pt>
          <cx:pt idx="864">Cergy</cx:pt>
          <cx:pt idx="865">Cergy</cx:pt>
          <cx:pt idx="866">Cergy</cx:pt>
          <cx:pt idx="867">Cergy</cx:pt>
          <cx:pt idx="868">Cergy</cx:pt>
          <cx:pt idx="869">Avignon</cx:pt>
          <cx:pt idx="870">Avignon</cx:pt>
          <cx:pt idx="871">Cergy</cx:pt>
          <cx:pt idx="872">Cergy</cx:pt>
          <cx:pt idx="873">Reims</cx:pt>
          <cx:pt idx="874">Reims</cx:pt>
          <cx:pt idx="875">Reims</cx:pt>
          <cx:pt idx="876">Reims</cx:pt>
          <cx:pt idx="877">Reims</cx:pt>
          <cx:pt idx="878">Reims</cx:pt>
          <cx:pt idx="879">Reims</cx:pt>
          <cx:pt idx="880">Reims</cx:pt>
          <cx:pt idx="881">Reims</cx:pt>
          <cx:pt idx="882">Reims</cx:pt>
          <cx:pt idx="883">Reims</cx:pt>
          <cx:pt idx="884">Reims</cx:pt>
          <cx:pt idx="885">Reims</cx:pt>
          <cx:pt idx="886">Reims</cx:pt>
          <cx:pt idx="887">Reims</cx:pt>
          <cx:pt idx="888">Reims</cx:pt>
          <cx:pt idx="889">Reims</cx:pt>
          <cx:pt idx="890">Reims</cx:pt>
          <cx:pt idx="891">Reims</cx:pt>
          <cx:pt idx="892">Reims</cx:pt>
          <cx:pt idx="893">Reims</cx:pt>
          <cx:pt idx="894">Reims</cx:pt>
          <cx:pt idx="895">Reims</cx:pt>
          <cx:pt idx="896">Reims</cx:pt>
          <cx:pt idx="897">Reims</cx:pt>
          <cx:pt idx="898">Reims</cx:pt>
          <cx:pt idx="899">Reims</cx:pt>
          <cx:pt idx="900">Reims</cx:pt>
          <cx:pt idx="901">Reims</cx:pt>
          <cx:pt idx="902">Reims</cx:pt>
          <cx:pt idx="903">Reims</cx:pt>
          <cx:pt idx="904">Reims</cx:pt>
          <cx:pt idx="905">Reims</cx:pt>
          <cx:pt idx="906">Reims</cx:pt>
          <cx:pt idx="907">Reims</cx:pt>
          <cx:pt idx="908">Reims</cx:pt>
          <cx:pt idx="909">Reims</cx:pt>
          <cx:pt idx="910">Reims</cx:pt>
          <cx:pt idx="911">Reims</cx:pt>
          <cx:pt idx="912">Reims</cx:pt>
          <cx:pt idx="913">Reims</cx:pt>
          <cx:pt idx="914">Reims</cx:pt>
          <cx:pt idx="915">Reims</cx:pt>
          <cx:pt idx="916">Reims</cx:pt>
          <cx:pt idx="917">Reims</cx:pt>
          <cx:pt idx="918">Reims</cx:pt>
          <cx:pt idx="919">Reims</cx:pt>
          <cx:pt idx="920">Reims</cx:pt>
          <cx:pt idx="921">Reims</cx:pt>
          <cx:pt idx="922">Reims</cx:pt>
          <cx:pt idx="923">Reims</cx:pt>
          <cx:pt idx="924">Avignon</cx:pt>
          <cx:pt idx="925">Cergy</cx:pt>
          <cx:pt idx="926">Cergy</cx:pt>
          <cx:pt idx="927">Reims</cx:pt>
          <cx:pt idx="928">Reims</cx:pt>
          <cx:pt idx="929">Reims</cx:pt>
          <cx:pt idx="930">Reims</cx:pt>
          <cx:pt idx="931">Montauban</cx:pt>
          <cx:pt idx="932">Montauban</cx:pt>
          <cx:pt idx="933">Montauban</cx:pt>
          <cx:pt idx="934">Montauban</cx:pt>
          <cx:pt idx="935">Montauban</cx:pt>
          <cx:pt idx="936">Montauban</cx:pt>
          <cx:pt idx="937">Montauban</cx:pt>
          <cx:pt idx="938">Montauban</cx:pt>
          <cx:pt idx="939">Montauban</cx:pt>
          <cx:pt idx="940">Montauban</cx:pt>
          <cx:pt idx="941">Montauban</cx:pt>
          <cx:pt idx="942">Montauban</cx:pt>
          <cx:pt idx="943">Cergy</cx:pt>
          <cx:pt idx="944">Cergy</cx:pt>
          <cx:pt idx="945">Cergy</cx:pt>
          <cx:pt idx="946">Cergy</cx:pt>
          <cx:pt idx="947">Cergy</cx:pt>
          <cx:pt idx="948">Cergy</cx:pt>
          <cx:pt idx="949">Cergy</cx:pt>
          <cx:pt idx="950">Cergy</cx:pt>
          <cx:pt idx="951">Reims</cx:pt>
          <cx:pt idx="952">Reims</cx:pt>
          <cx:pt idx="953">Reims</cx:pt>
          <cx:pt idx="954">Cergy</cx:pt>
          <cx:pt idx="955">Cergy</cx:pt>
          <cx:pt idx="956">Reims</cx:pt>
          <cx:pt idx="957">Avignon</cx:pt>
          <cx:pt idx="958">Avignon</cx:pt>
          <cx:pt idx="959">Avignon</cx:pt>
          <cx:pt idx="960">Cergy</cx:pt>
          <cx:pt idx="961">Cergy</cx:pt>
          <cx:pt idx="962">Cergy</cx:pt>
          <cx:pt idx="963">Cergy</cx:pt>
          <cx:pt idx="964">Cergy</cx:pt>
          <cx:pt idx="965">Cergy</cx:pt>
          <cx:pt idx="966">Reims</cx:pt>
          <cx:pt idx="967">Montauban</cx:pt>
          <cx:pt idx="968">Montauban</cx:pt>
          <cx:pt idx="969">Montauban</cx:pt>
          <cx:pt idx="970">Montauban</cx:pt>
          <cx:pt idx="971">Montauban</cx:pt>
          <cx:pt idx="972">Montauban</cx:pt>
          <cx:pt idx="973">Reims</cx:pt>
          <cx:pt idx="974">Montauban</cx:pt>
          <cx:pt idx="975">Reims</cx:pt>
          <cx:pt idx="976">Reims</cx:pt>
          <cx:pt idx="977">Reims</cx:pt>
          <cx:pt idx="978">Reims</cx:pt>
          <cx:pt idx="979">Avignon</cx:pt>
          <cx:pt idx="980">Montauban</cx:pt>
          <cx:pt idx="981">Montauban</cx:pt>
          <cx:pt idx="982">Montauban</cx:pt>
          <cx:pt idx="983">Montauban</cx:pt>
          <cx:pt idx="984">Montauban</cx:pt>
          <cx:pt idx="985">Montauban</cx:pt>
          <cx:pt idx="986">Montauban</cx:pt>
          <cx:pt idx="987">Montauban</cx:pt>
          <cx:pt idx="988">Montauban</cx:pt>
          <cx:pt idx="989">Montauban</cx:pt>
          <cx:pt idx="990">Montauban</cx:pt>
          <cx:pt idx="991">Cergy</cx:pt>
          <cx:pt idx="992">Reims</cx:pt>
          <cx:pt idx="993">Cergy</cx:pt>
          <cx:pt idx="994">Montauban</cx:pt>
          <cx:pt idx="995">Cergy</cx:pt>
          <cx:pt idx="996">Cergy</cx:pt>
          <cx:pt idx="997">Reims</cx:pt>
          <cx:pt idx="998">Reims</cx:pt>
          <cx:pt idx="999">Avignon</cx:pt>
          <cx:pt idx="1000">Cergy</cx:pt>
          <cx:pt idx="1001">Montauban</cx:pt>
          <cx:pt idx="1002">Cergy</cx:pt>
          <cx:pt idx="1003">Cergy</cx:pt>
          <cx:pt idx="1004">Cergy</cx:pt>
          <cx:pt idx="1005">Cergy</cx:pt>
          <cx:pt idx="1006">Cergy</cx:pt>
          <cx:pt idx="1007">Cergy</cx:pt>
          <cx:pt idx="1008">Cergy</cx:pt>
          <cx:pt idx="1009">Cergy</cx:pt>
          <cx:pt idx="1010">Cergy</cx:pt>
          <cx:pt idx="1011">Cergy</cx:pt>
          <cx:pt idx="1012">Cergy</cx:pt>
          <cx:pt idx="1013">Cergy</cx:pt>
          <cx:pt idx="1014">Cergy</cx:pt>
          <cx:pt idx="1015">Cergy</cx:pt>
          <cx:pt idx="1016">Cergy</cx:pt>
          <cx:pt idx="1017">Cergy</cx:pt>
          <cx:pt idx="1018">Cergy</cx:pt>
          <cx:pt idx="1019">Cergy</cx:pt>
          <cx:pt idx="1020">Cergy</cx:pt>
          <cx:pt idx="1021">Cergy</cx:pt>
          <cx:pt idx="1022">Cergy</cx:pt>
          <cx:pt idx="1023">Cergy</cx:pt>
          <cx:pt idx="1024">Cergy</cx:pt>
          <cx:pt idx="1025">Cergy</cx:pt>
          <cx:pt idx="1026">Cergy</cx:pt>
          <cx:pt idx="1027">Cergy</cx:pt>
          <cx:pt idx="1028">Cergy</cx:pt>
          <cx:pt idx="1029">Cergy</cx:pt>
          <cx:pt idx="1030">Cergy</cx:pt>
          <cx:pt idx="1031">Cergy</cx:pt>
          <cx:pt idx="1032">Cergy</cx:pt>
          <cx:pt idx="1033">Cergy</cx:pt>
          <cx:pt idx="1034">Cergy</cx:pt>
          <cx:pt idx="1035">Cergy</cx:pt>
          <cx:pt idx="1036">Cergy</cx:pt>
          <cx:pt idx="1037">Cergy</cx:pt>
          <cx:pt idx="1038">Cergy</cx:pt>
          <cx:pt idx="1039">Cergy</cx:pt>
          <cx:pt idx="1040">Cergy</cx:pt>
          <cx:pt idx="1041">Cergy</cx:pt>
          <cx:pt idx="1042">Cergy</cx:pt>
          <cx:pt idx="1043">Cergy</cx:pt>
          <cx:pt idx="1044">Cergy</cx:pt>
          <cx:pt idx="1045">Cergy</cx:pt>
          <cx:pt idx="1046">Cergy</cx:pt>
          <cx:pt idx="1047">Cergy</cx:pt>
          <cx:pt idx="1048">Cergy</cx:pt>
          <cx:pt idx="1049">Cergy</cx:pt>
          <cx:pt idx="1050">Cergy</cx:pt>
          <cx:pt idx="1051">Cergy</cx:pt>
          <cx:pt idx="1052">Cergy</cx:pt>
          <cx:pt idx="1053">Avignon</cx:pt>
          <cx:pt idx="1054">Montauban</cx:pt>
          <cx:pt idx="1055">Reims</cx:pt>
          <cx:pt idx="1056">Reims</cx:pt>
          <cx:pt idx="1057">Reims</cx:pt>
          <cx:pt idx="1058">Cergy</cx:pt>
          <cx:pt idx="1059">Cergy</cx:pt>
          <cx:pt idx="1060">Cergy</cx:pt>
          <cx:pt idx="1061">Cergy</cx:pt>
          <cx:pt idx="1062">Cergy</cx:pt>
          <cx:pt idx="1063">Avignon</cx:pt>
          <cx:pt idx="1064">Avignon</cx:pt>
          <cx:pt idx="1065">Avignon</cx:pt>
          <cx:pt idx="1066">Avignon</cx:pt>
          <cx:pt idx="1067">Avignon</cx:pt>
          <cx:pt idx="1068">Avignon</cx:pt>
          <cx:pt idx="1069">Avignon</cx:pt>
          <cx:pt idx="1070">Avignon</cx:pt>
          <cx:pt idx="1071">Avignon</cx:pt>
          <cx:pt idx="1072">Avignon</cx:pt>
          <cx:pt idx="1073">Avignon</cx:pt>
          <cx:pt idx="1074">Avignon</cx:pt>
          <cx:pt idx="1075">Avignon</cx:pt>
          <cx:pt idx="1076">Avignon</cx:pt>
          <cx:pt idx="1077">Avignon</cx:pt>
          <cx:pt idx="1078">Avignon</cx:pt>
          <cx:pt idx="1079">Avignon</cx:pt>
          <cx:pt idx="1080">Avignon</cx:pt>
          <cx:pt idx="1081">Avignon</cx:pt>
          <cx:pt idx="1082">Avignon</cx:pt>
          <cx:pt idx="1083">Avignon</cx:pt>
          <cx:pt idx="1084">Avignon</cx:pt>
          <cx:pt idx="1085">Avignon</cx:pt>
          <cx:pt idx="1086">Avignon</cx:pt>
          <cx:pt idx="1087">Avignon</cx:pt>
          <cx:pt idx="1088">Avignon</cx:pt>
          <cx:pt idx="1089">Avignon</cx:pt>
          <cx:pt idx="1090">Avignon</cx:pt>
          <cx:pt idx="1091">Avignon</cx:pt>
          <cx:pt idx="1092">Avignon</cx:pt>
          <cx:pt idx="1093">Avignon</cx:pt>
          <cx:pt idx="1094">Avignon</cx:pt>
          <cx:pt idx="1095">Avignon</cx:pt>
          <cx:pt idx="1096">Avignon</cx:pt>
          <cx:pt idx="1097">Avignon</cx:pt>
          <cx:pt idx="1098">Avignon</cx:pt>
          <cx:pt idx="1099">Avignon</cx:pt>
          <cx:pt idx="1100">Avignon</cx:pt>
          <cx:pt idx="1101">Avignon</cx:pt>
          <cx:pt idx="1102">Avignon</cx:pt>
          <cx:pt idx="1103">Avignon</cx:pt>
          <cx:pt idx="1104">Avignon</cx:pt>
          <cx:pt idx="1105">Avignon</cx:pt>
          <cx:pt idx="1106">Avignon</cx:pt>
          <cx:pt idx="1107">Avignon</cx:pt>
          <cx:pt idx="1108">Avignon</cx:pt>
          <cx:pt idx="1109">Avignon</cx:pt>
          <cx:pt idx="1110">Avignon</cx:pt>
          <cx:pt idx="1111">Avignon</cx:pt>
          <cx:pt idx="1112">Avignon</cx:pt>
          <cx:pt idx="1113">Avignon</cx:pt>
          <cx:pt idx="1114">Avignon</cx:pt>
          <cx:pt idx="1115">Avignon</cx:pt>
          <cx:pt idx="1116">Avignon</cx:pt>
          <cx:pt idx="1117">Avignon</cx:pt>
          <cx:pt idx="1118">Avignon</cx:pt>
          <cx:pt idx="1119">Avignon</cx:pt>
          <cx:pt idx="1120">Avignon</cx:pt>
          <cx:pt idx="1121">Cergy</cx:pt>
          <cx:pt idx="1122">Reims</cx:pt>
          <cx:pt idx="1123">Reims</cx:pt>
          <cx:pt idx="1124">Reims</cx:pt>
          <cx:pt idx="1125">Reims</cx:pt>
          <cx:pt idx="1126">Reims</cx:pt>
          <cx:pt idx="1127">Montauban</cx:pt>
          <cx:pt idx="1128">Reims</cx:pt>
          <cx:pt idx="1129">Reims</cx:pt>
          <cx:pt idx="1130">Reims</cx:pt>
          <cx:pt idx="1131">Reims</cx:pt>
          <cx:pt idx="1132">Reims</cx:pt>
          <cx:pt idx="1133">Reims</cx:pt>
          <cx:pt idx="1134">Reims</cx:pt>
          <cx:pt idx="1135">Reims</cx:pt>
          <cx:pt idx="1136">Reims</cx:pt>
          <cx:pt idx="1137">Reims</cx:pt>
          <cx:pt idx="1138">Reims</cx:pt>
          <cx:pt idx="1139">Montauban</cx:pt>
          <cx:pt idx="1140">Montauban</cx:pt>
          <cx:pt idx="1141">Montauban</cx:pt>
          <cx:pt idx="1142">Montauban</cx:pt>
          <cx:pt idx="1143">Montauban</cx:pt>
          <cx:pt idx="1144">Montauban</cx:pt>
          <cx:pt idx="1145">Montauban</cx:pt>
          <cx:pt idx="1146">Montauban</cx:pt>
          <cx:pt idx="1147">Montauban</cx:pt>
          <cx:pt idx="1148">Montauban</cx:pt>
          <cx:pt idx="1149">Montauban</cx:pt>
          <cx:pt idx="1150">Montauban</cx:pt>
          <cx:pt idx="1151">Montauban</cx:pt>
          <cx:pt idx="1152">Cergy</cx:pt>
          <cx:pt idx="1153">Cergy</cx:pt>
          <cx:pt idx="1154">Montauban</cx:pt>
          <cx:pt idx="1155">Cergy</cx:pt>
          <cx:pt idx="1156">Montauban</cx:pt>
          <cx:pt idx="1157">Reims</cx:pt>
          <cx:pt idx="1158">Reims</cx:pt>
          <cx:pt idx="1159">Reims</cx:pt>
          <cx:pt idx="1160">Reims</cx:pt>
          <cx:pt idx="1161">Reims</cx:pt>
          <cx:pt idx="1162">Reims</cx:pt>
          <cx:pt idx="1163">Cergy</cx:pt>
          <cx:pt idx="1164">Montauban</cx:pt>
          <cx:pt idx="1165">Montauban</cx:pt>
          <cx:pt idx="1166">Montauban</cx:pt>
          <cx:pt idx="1167">Montauban</cx:pt>
          <cx:pt idx="1168">Avignon</cx:pt>
          <cx:pt idx="1169">Montauban</cx:pt>
          <cx:pt idx="1170">Cergy</cx:pt>
          <cx:pt idx="1171">Cergy</cx:pt>
          <cx:pt idx="1172">Cergy</cx:pt>
          <cx:pt idx="1173">Cergy</cx:pt>
          <cx:pt idx="1174">Reims</cx:pt>
          <cx:pt idx="1175">Reims</cx:pt>
          <cx:pt idx="1176">Reims</cx:pt>
          <cx:pt idx="1177">Reims</cx:pt>
          <cx:pt idx="1178">Reims</cx:pt>
          <cx:pt idx="1179">Reims</cx:pt>
          <cx:pt idx="1180">Reims</cx:pt>
          <cx:pt idx="1181">Reims</cx:pt>
          <cx:pt idx="1182">Reims</cx:pt>
          <cx:pt idx="1183">Reims</cx:pt>
          <cx:pt idx="1184">Reims</cx:pt>
          <cx:pt idx="1185">Reims</cx:pt>
          <cx:pt idx="1186">Reims</cx:pt>
          <cx:pt idx="1187">Reims</cx:pt>
          <cx:pt idx="1188">Reims</cx:pt>
          <cx:pt idx="1189">Reims</cx:pt>
          <cx:pt idx="1190">Reims</cx:pt>
          <cx:pt idx="1191">Cergy</cx:pt>
          <cx:pt idx="1192">Cergy</cx:pt>
          <cx:pt idx="1193">Cergy</cx:pt>
          <cx:pt idx="1194">Cergy</cx:pt>
          <cx:pt idx="1195">Avignon</cx:pt>
          <cx:pt idx="1196">Avignon</cx:pt>
          <cx:pt idx="1197">Avignon</cx:pt>
          <cx:pt idx="1198">Avignon</cx:pt>
          <cx:pt idx="1199">Avignon</cx:pt>
          <cx:pt idx="1200">Avignon</cx:pt>
          <cx:pt idx="1201">Avignon</cx:pt>
          <cx:pt idx="1202">Avignon</cx:pt>
          <cx:pt idx="1203">Avignon</cx:pt>
          <cx:pt idx="1204">Cergy</cx:pt>
          <cx:pt idx="1205">Cergy</cx:pt>
          <cx:pt idx="1206">Montauban</cx:pt>
          <cx:pt idx="1207">Montauban</cx:pt>
          <cx:pt idx="1208">Cergy</cx:pt>
          <cx:pt idx="1209">Cergy</cx:pt>
          <cx:pt idx="1210">Cergy</cx:pt>
          <cx:pt idx="1211">Montauban</cx:pt>
          <cx:pt idx="1212">Montauban</cx:pt>
          <cx:pt idx="1213">Montauban</cx:pt>
          <cx:pt idx="1214">Montauban</cx:pt>
          <cx:pt idx="1215">Montauban</cx:pt>
          <cx:pt idx="1216">Montauban</cx:pt>
          <cx:pt idx="1217">Montauban</cx:pt>
          <cx:pt idx="1218">Montauban</cx:pt>
          <cx:pt idx="1219">Montauban</cx:pt>
          <cx:pt idx="1220">Montauban</cx:pt>
          <cx:pt idx="1221">Montauban</cx:pt>
          <cx:pt idx="1222">Montauban</cx:pt>
          <cx:pt idx="1223">Montauban</cx:pt>
          <cx:pt idx="1224">Montauban</cx:pt>
          <cx:pt idx="1225">Montauban</cx:pt>
          <cx:pt idx="1226">Montauban</cx:pt>
          <cx:pt idx="1227">Montauban</cx:pt>
          <cx:pt idx="1228">Montauban</cx:pt>
          <cx:pt idx="1229">Montauban</cx:pt>
          <cx:pt idx="1230">Montauban</cx:pt>
          <cx:pt idx="1231">Montauban</cx:pt>
          <cx:pt idx="1232">Montauban</cx:pt>
          <cx:pt idx="1233">Montauban</cx:pt>
          <cx:pt idx="1234">Montauban</cx:pt>
          <cx:pt idx="1235">Montauban</cx:pt>
          <cx:pt idx="1236">Montauban</cx:pt>
          <cx:pt idx="1237">Cergy</cx:pt>
          <cx:pt idx="1238">Cergy</cx:pt>
          <cx:pt idx="1239">Cergy</cx:pt>
          <cx:pt idx="1240">Cergy</cx:pt>
          <cx:pt idx="1241">Cergy</cx:pt>
          <cx:pt idx="1242">Cergy</cx:pt>
          <cx:pt idx="1243">Cergy</cx:pt>
          <cx:pt idx="1244">Reims</cx:pt>
          <cx:pt idx="1245">Reims</cx:pt>
          <cx:pt idx="1246">Reims</cx:pt>
          <cx:pt idx="1247">Reims</cx:pt>
          <cx:pt idx="1248">Reims</cx:pt>
          <cx:pt idx="1249">Cergy</cx:pt>
          <cx:pt idx="1250">Reims</cx:pt>
          <cx:pt idx="1251">Cergy</cx:pt>
          <cx:pt idx="1252">Avignon</cx:pt>
          <cx:pt idx="1253">Avignon</cx:pt>
          <cx:pt idx="1254">Avignon</cx:pt>
          <cx:pt idx="1255">Avignon</cx:pt>
          <cx:pt idx="1256">Avignon</cx:pt>
          <cx:pt idx="1257">Avignon</cx:pt>
          <cx:pt idx="1258">Avignon</cx:pt>
          <cx:pt idx="1259">Avignon</cx:pt>
          <cx:pt idx="1260">Cergy</cx:pt>
          <cx:pt idx="1261">Cergy</cx:pt>
          <cx:pt idx="1262">Cergy</cx:pt>
          <cx:pt idx="1263">Cergy</cx:pt>
          <cx:pt idx="1264">Cergy</cx:pt>
          <cx:pt idx="1265">Cergy</cx:pt>
          <cx:pt idx="1266">Cergy</cx:pt>
          <cx:pt idx="1267">Cergy</cx:pt>
          <cx:pt idx="1268">Cergy</cx:pt>
          <cx:pt idx="1269">Cergy</cx:pt>
          <cx:pt idx="1270">Cergy</cx:pt>
          <cx:pt idx="1271">Cergy</cx:pt>
          <cx:pt idx="1272">Cergy</cx:pt>
          <cx:pt idx="1273">Cergy</cx:pt>
          <cx:pt idx="1274">Cergy</cx:pt>
          <cx:pt idx="1275">Montauban</cx:pt>
          <cx:pt idx="1276">Cergy</cx:pt>
          <cx:pt idx="1277">Cergy</cx:pt>
          <cx:pt idx="1278">Avignon</cx:pt>
          <cx:pt idx="1279">Avignon</cx:pt>
          <cx:pt idx="1280">Avignon</cx:pt>
          <cx:pt idx="1281">Avignon</cx:pt>
          <cx:pt idx="1282">Avignon</cx:pt>
          <cx:pt idx="1283">Avignon</cx:pt>
          <cx:pt idx="1284">Avignon</cx:pt>
          <cx:pt idx="1285">Avignon</cx:pt>
          <cx:pt idx="1286">Avignon</cx:pt>
          <cx:pt idx="1287">Avignon</cx:pt>
          <cx:pt idx="1288">Avignon</cx:pt>
          <cx:pt idx="1289">Avignon</cx:pt>
          <cx:pt idx="1290">Cergy</cx:pt>
          <cx:pt idx="1291">Cergy</cx:pt>
          <cx:pt idx="1292">Cergy</cx:pt>
          <cx:pt idx="1293">Cergy</cx:pt>
          <cx:pt idx="1294">Cergy</cx:pt>
          <cx:pt idx="1295">Cergy</cx:pt>
          <cx:pt idx="1296">Avignon</cx:pt>
          <cx:pt idx="1297">Avignon</cx:pt>
          <cx:pt idx="1298">Avignon</cx:pt>
          <cx:pt idx="1299">Avignon</cx:pt>
          <cx:pt idx="1300">Avignon</cx:pt>
          <cx:pt idx="1301">Avignon</cx:pt>
          <cx:pt idx="1302">Avignon</cx:pt>
          <cx:pt idx="1303">Avignon</cx:pt>
          <cx:pt idx="1304">Avignon</cx:pt>
          <cx:pt idx="1305">Avignon</cx:pt>
          <cx:pt idx="1306">Avignon</cx:pt>
          <cx:pt idx="1307">Avignon</cx:pt>
          <cx:pt idx="1308">Avignon</cx:pt>
          <cx:pt idx="1309">Avignon</cx:pt>
          <cx:pt idx="1310">Avignon</cx:pt>
          <cx:pt idx="1311">Avignon</cx:pt>
          <cx:pt idx="1312">Avignon</cx:pt>
          <cx:pt idx="1313">Avignon</cx:pt>
          <cx:pt idx="1314">Avignon</cx:pt>
          <cx:pt idx="1315">Avignon</cx:pt>
          <cx:pt idx="1316">Avignon</cx:pt>
          <cx:pt idx="1317">Avignon</cx:pt>
          <cx:pt idx="1318">Avignon</cx:pt>
          <cx:pt idx="1319">Avignon</cx:pt>
          <cx:pt idx="1320">Avignon</cx:pt>
          <cx:pt idx="1321">Avignon</cx:pt>
          <cx:pt idx="1322">Avignon</cx:pt>
          <cx:pt idx="1323">Avignon</cx:pt>
          <cx:pt idx="1324">Avignon</cx:pt>
          <cx:pt idx="1325">Avignon</cx:pt>
          <cx:pt idx="1326">Avignon</cx:pt>
          <cx:pt idx="1327">Avignon</cx:pt>
          <cx:pt idx="1328">Avignon</cx:pt>
          <cx:pt idx="1329">Avignon</cx:pt>
          <cx:pt idx="1330">Avignon</cx:pt>
          <cx:pt idx="1331">Avignon</cx:pt>
          <cx:pt idx="1332">Avignon</cx:pt>
          <cx:pt idx="1333">Avignon</cx:pt>
          <cx:pt idx="1334">Avignon</cx:pt>
          <cx:pt idx="1335">Reims</cx:pt>
          <cx:pt idx="1336">Reims</cx:pt>
          <cx:pt idx="1337">Avignon</cx:pt>
          <cx:pt idx="1338">Avignon</cx:pt>
          <cx:pt idx="1339">Avignon</cx:pt>
          <cx:pt idx="1340">Avignon</cx:pt>
          <cx:pt idx="1341">Avignon</cx:pt>
          <cx:pt idx="1342">Cergy</cx:pt>
          <cx:pt idx="1343">Cergy</cx:pt>
          <cx:pt idx="1344">Avignon</cx:pt>
          <cx:pt idx="1345">Avignon</cx:pt>
          <cx:pt idx="1346">Avignon</cx:pt>
          <cx:pt idx="1347">Avignon</cx:pt>
          <cx:pt idx="1348">Avignon</cx:pt>
          <cx:pt idx="1349">Avignon</cx:pt>
          <cx:pt idx="1350">Avignon</cx:pt>
          <cx:pt idx="1351">Avignon</cx:pt>
          <cx:pt idx="1352">Avignon</cx:pt>
          <cx:pt idx="1353">Avignon</cx:pt>
          <cx:pt idx="1354">Avignon</cx:pt>
          <cx:pt idx="1355">Avignon</cx:pt>
          <cx:pt idx="1356">Avignon</cx:pt>
          <cx:pt idx="1357">Avignon</cx:pt>
          <cx:pt idx="1358">Avignon</cx:pt>
          <cx:pt idx="1359">Avignon</cx:pt>
          <cx:pt idx="1360">Avignon</cx:pt>
          <cx:pt idx="1361">Avignon</cx:pt>
          <cx:pt idx="1362">Avignon</cx:pt>
          <cx:pt idx="1363">Avignon</cx:pt>
          <cx:pt idx="1364">Avignon</cx:pt>
          <cx:pt idx="1365">Avignon</cx:pt>
          <cx:pt idx="1366">Avignon</cx:pt>
          <cx:pt idx="1367">Avignon</cx:pt>
          <cx:pt idx="1368">Avignon</cx:pt>
          <cx:pt idx="1369">Montauban</cx:pt>
          <cx:pt idx="1370">Montauban</cx:pt>
          <cx:pt idx="1371">Montauban</cx:pt>
          <cx:pt idx="1372">Montauban</cx:pt>
          <cx:pt idx="1373">Montauban</cx:pt>
          <cx:pt idx="1374">Montauban</cx:pt>
          <cx:pt idx="1375">Cergy</cx:pt>
          <cx:pt idx="1376">Montauban</cx:pt>
          <cx:pt idx="1377">Montauban</cx:pt>
          <cx:pt idx="1378">Montauban</cx:pt>
          <cx:pt idx="1379">Montauban</cx:pt>
          <cx:pt idx="1380">Montauban</cx:pt>
          <cx:pt idx="1381">Montauban</cx:pt>
          <cx:pt idx="1382">Montauban</cx:pt>
          <cx:pt idx="1383">Montauban</cx:pt>
          <cx:pt idx="1384">Montauban</cx:pt>
          <cx:pt idx="1385">Montauban</cx:pt>
          <cx:pt idx="1386">Montauban</cx:pt>
          <cx:pt idx="1387">Montauban</cx:pt>
          <cx:pt idx="1388">Montauban</cx:pt>
          <cx:pt idx="1389">Montauban</cx:pt>
          <cx:pt idx="1390">Montauban</cx:pt>
          <cx:pt idx="1391">Montauban</cx:pt>
          <cx:pt idx="1392">Montauban</cx:pt>
          <cx:pt idx="1393">Montauban</cx:pt>
          <cx:pt idx="1394">Montauban</cx:pt>
          <cx:pt idx="1395">Avignon</cx:pt>
          <cx:pt idx="1396">Reims</cx:pt>
          <cx:pt idx="1397">Reims</cx:pt>
          <cx:pt idx="1398">Cergy</cx:pt>
          <cx:pt idx="1399">Cergy</cx:pt>
          <cx:pt idx="1400">Cergy</cx:pt>
          <cx:pt idx="1401">Cergy</cx:pt>
          <cx:pt idx="1402">Cergy</cx:pt>
          <cx:pt idx="1403">Cergy</cx:pt>
          <cx:pt idx="1404">Cergy</cx:pt>
          <cx:pt idx="1405">Cergy</cx:pt>
          <cx:pt idx="1406">Cergy</cx:pt>
          <cx:pt idx="1407">Cergy</cx:pt>
          <cx:pt idx="1408">Cergy</cx:pt>
          <cx:pt idx="1409">Cergy</cx:pt>
          <cx:pt idx="1410">Cergy</cx:pt>
          <cx:pt idx="1411">Cergy</cx:pt>
          <cx:pt idx="1412">Cergy</cx:pt>
          <cx:pt idx="1413">Cergy</cx:pt>
          <cx:pt idx="1414">Cergy</cx:pt>
          <cx:pt idx="1415">Cergy</cx:pt>
          <cx:pt idx="1416">Cergy</cx:pt>
          <cx:pt idx="1417">Cergy</cx:pt>
          <cx:pt idx="1418">Cergy</cx:pt>
          <cx:pt idx="1419">Cergy</cx:pt>
          <cx:pt idx="1420">Reims</cx:pt>
          <cx:pt idx="1421">Reims</cx:pt>
          <cx:pt idx="1422">Cergy</cx:pt>
          <cx:pt idx="1423">Cergy</cx:pt>
          <cx:pt idx="1424">Cergy</cx:pt>
          <cx:pt idx="1425">Reims</cx:pt>
          <cx:pt idx="1426">Cergy</cx:pt>
          <cx:pt idx="1427">Cergy</cx:pt>
          <cx:pt idx="1428">Cergy</cx:pt>
          <cx:pt idx="1429">Cergy</cx:pt>
          <cx:pt idx="1430">Cergy</cx:pt>
          <cx:pt idx="1431">Reims</cx:pt>
          <cx:pt idx="1432">Cergy</cx:pt>
          <cx:pt idx="1433">Cergy</cx:pt>
          <cx:pt idx="1434">Avignon</cx:pt>
          <cx:pt idx="1435">Montauban</cx:pt>
          <cx:pt idx="1436">Cergy</cx:pt>
          <cx:pt idx="1437">Cergy</cx:pt>
          <cx:pt idx="1438">Cergy</cx:pt>
          <cx:pt idx="1439">Cergy</cx:pt>
          <cx:pt idx="1440">Cergy</cx:pt>
          <cx:pt idx="1441">Cergy</cx:pt>
          <cx:pt idx="1442">Cergy</cx:pt>
          <cx:pt idx="1443">Cergy</cx:pt>
          <cx:pt idx="1444">Cergy</cx:pt>
          <cx:pt idx="1445">Cergy</cx:pt>
          <cx:pt idx="1446">Cergy</cx:pt>
          <cx:pt idx="1447">Cergy</cx:pt>
          <cx:pt idx="1448">Cergy</cx:pt>
          <cx:pt idx="1449">Cergy</cx:pt>
          <cx:pt idx="1450">Cergy</cx:pt>
          <cx:pt idx="1451">Cergy</cx:pt>
          <cx:pt idx="1452">Cergy</cx:pt>
          <cx:pt idx="1453">Cergy</cx:pt>
          <cx:pt idx="1454">Cergy</cx:pt>
          <cx:pt idx="1455">Cergy</cx:pt>
          <cx:pt idx="1456">Cergy</cx:pt>
          <cx:pt idx="1457">Cergy</cx:pt>
          <cx:pt idx="1458">Cergy</cx:pt>
          <cx:pt idx="1459">Avignon</cx:pt>
          <cx:pt idx="1460">Cergy</cx:pt>
          <cx:pt idx="1461">Cergy</cx:pt>
          <cx:pt idx="1462">Montauban</cx:pt>
          <cx:pt idx="1463">Reims</cx:pt>
          <cx:pt idx="1464">Reims</cx:pt>
          <cx:pt idx="1465">Avignon</cx:pt>
          <cx:pt idx="1466">Avignon</cx:pt>
          <cx:pt idx="1467">Avignon</cx:pt>
          <cx:pt idx="1468">Avignon</cx:pt>
          <cx:pt idx="1469">Montauban</cx:pt>
          <cx:pt idx="1470">Montauban</cx:pt>
          <cx:pt idx="1471">Reims</cx:pt>
          <cx:pt idx="1472">Reims</cx:pt>
          <cx:pt idx="1473">Reims</cx:pt>
          <cx:pt idx="1474">Reims</cx:pt>
          <cx:pt idx="1475">Reims</cx:pt>
          <cx:pt idx="1476">Reims</cx:pt>
          <cx:pt idx="1477">Reims</cx:pt>
          <cx:pt idx="1478">Reims</cx:pt>
          <cx:pt idx="1479">Reims</cx:pt>
          <cx:pt idx="1480">Reims</cx:pt>
          <cx:pt idx="1481">Reims</cx:pt>
          <cx:pt idx="1482">Reims</cx:pt>
          <cx:pt idx="1483">Reims</cx:pt>
          <cx:pt idx="1484">Reims</cx:pt>
          <cx:pt idx="1485">Reims</cx:pt>
          <cx:pt idx="1486">Reims</cx:pt>
          <cx:pt idx="1487">Reims</cx:pt>
          <cx:pt idx="1488">Cergy</cx:pt>
          <cx:pt idx="1489">Cergy</cx:pt>
          <cx:pt idx="1490">Avignon</cx:pt>
          <cx:pt idx="1491">Cergy</cx:pt>
          <cx:pt idx="1492">Cergy</cx:pt>
          <cx:pt idx="1493">Montauban</cx:pt>
          <cx:pt idx="1494">Cergy</cx:pt>
          <cx:pt idx="1495">Montauban</cx:pt>
          <cx:pt idx="1496">Montauban</cx:pt>
          <cx:pt idx="1497">Montauban</cx:pt>
          <cx:pt idx="1498">Montauban</cx:pt>
          <cx:pt idx="1499">Montauban</cx:pt>
          <cx:pt idx="1500">Montauban</cx:pt>
          <cx:pt idx="1501">Montauban</cx:pt>
          <cx:pt idx="1502">Montauban</cx:pt>
          <cx:pt idx="1503">Montauban</cx:pt>
          <cx:pt idx="1504">Montauban</cx:pt>
          <cx:pt idx="1505">Montauban</cx:pt>
          <cx:pt idx="1506">Montauban</cx:pt>
          <cx:pt idx="1507">Montauban</cx:pt>
          <cx:pt idx="1508">Montauban</cx:pt>
          <cx:pt idx="1509">Montauban</cx:pt>
          <cx:pt idx="1510">Montauban</cx:pt>
          <cx:pt idx="1511">Cergy</cx:pt>
          <cx:pt idx="1512">Cergy</cx:pt>
          <cx:pt idx="1513">Cergy</cx:pt>
          <cx:pt idx="1514">Cergy</cx:pt>
          <cx:pt idx="1515">Cergy</cx:pt>
          <cx:pt idx="1516">Cergy</cx:pt>
          <cx:pt idx="1517">Cergy</cx:pt>
          <cx:pt idx="1518">Cergy</cx:pt>
          <cx:pt idx="1519">Cergy</cx:pt>
          <cx:pt idx="1520">Cergy</cx:pt>
          <cx:pt idx="1521">Cergy</cx:pt>
          <cx:pt idx="1522">Cergy</cx:pt>
          <cx:pt idx="1523">Cergy</cx:pt>
          <cx:pt idx="1524">Cergy</cx:pt>
          <cx:pt idx="1525">Cergy</cx:pt>
          <cx:pt idx="1526">Cergy</cx:pt>
          <cx:pt idx="1527">Cergy</cx:pt>
          <cx:pt idx="1528">Reims</cx:pt>
          <cx:pt idx="1529">Reims</cx:pt>
          <cx:pt idx="1530">Reims</cx:pt>
          <cx:pt idx="1531">Cergy</cx:pt>
          <cx:pt idx="1532">Cergy</cx:pt>
          <cx:pt idx="1533">Cergy</cx:pt>
          <cx:pt idx="1534">Cergy</cx:pt>
          <cx:pt idx="1535">Cergy</cx:pt>
          <cx:pt idx="1536">Cergy</cx:pt>
          <cx:pt idx="1537">Cergy</cx:pt>
          <cx:pt idx="1538">Cergy</cx:pt>
          <cx:pt idx="1539">Cergy</cx:pt>
          <cx:pt idx="1540">Cergy</cx:pt>
          <cx:pt idx="1541">Cergy</cx:pt>
          <cx:pt idx="1542">Cergy</cx:pt>
          <cx:pt idx="1543">Cergy</cx:pt>
          <cx:pt idx="1544">Cergy</cx:pt>
          <cx:pt idx="1545">Cergy</cx:pt>
          <cx:pt idx="1546">Cergy</cx:pt>
          <cx:pt idx="1547">Cergy</cx:pt>
          <cx:pt idx="1548">Cergy</cx:pt>
          <cx:pt idx="1549">Cergy</cx:pt>
          <cx:pt idx="1550">Cergy</cx:pt>
          <cx:pt idx="1551">Cergy</cx:pt>
          <cx:pt idx="1552">Avignon</cx:pt>
          <cx:pt idx="1553">Avignon</cx:pt>
          <cx:pt idx="1554">Reims</cx:pt>
          <cx:pt idx="1555">Reims</cx:pt>
          <cx:pt idx="1556">Montauban</cx:pt>
          <cx:pt idx="1557">Montauban</cx:pt>
          <cx:pt idx="1558">Montauban</cx:pt>
          <cx:pt idx="1559">Montauban</cx:pt>
          <cx:pt idx="1560">Montauban</cx:pt>
          <cx:pt idx="1561">Montauban</cx:pt>
          <cx:pt idx="1562">Montauban</cx:pt>
          <cx:pt idx="1563">Montauban</cx:pt>
          <cx:pt idx="1564">Montauban</cx:pt>
          <cx:pt idx="1565">Montauban</cx:pt>
          <cx:pt idx="1566">Montauban</cx:pt>
          <cx:pt idx="1567">Montauban</cx:pt>
          <cx:pt idx="1568">Montauban</cx:pt>
          <cx:pt idx="1569">Montauban</cx:pt>
          <cx:pt idx="1570">Montauban</cx:pt>
          <cx:pt idx="1571">Montauban</cx:pt>
          <cx:pt idx="1572">Montauban</cx:pt>
          <cx:pt idx="1573">Montauban</cx:pt>
          <cx:pt idx="1574">Montauban</cx:pt>
          <cx:pt idx="1575">Montauban</cx:pt>
          <cx:pt idx="1576">Montauban</cx:pt>
          <cx:pt idx="1577">Montauban</cx:pt>
          <cx:pt idx="1578">Montauban</cx:pt>
          <cx:pt idx="1579">Montauban</cx:pt>
          <cx:pt idx="1580">Montauban</cx:pt>
          <cx:pt idx="1581">Montauban</cx:pt>
          <cx:pt idx="1582">Montauban</cx:pt>
          <cx:pt idx="1583">Montauban</cx:pt>
          <cx:pt idx="1584">Montauban</cx:pt>
          <cx:pt idx="1585">Montauban</cx:pt>
          <cx:pt idx="1586">Montauban</cx:pt>
          <cx:pt idx="1587">Montauban</cx:pt>
          <cx:pt idx="1588">Montauban</cx:pt>
          <cx:pt idx="1589">Montauban</cx:pt>
          <cx:pt idx="1590">Montauban</cx:pt>
          <cx:pt idx="1591">Montauban</cx:pt>
          <cx:pt idx="1592">Montauban</cx:pt>
          <cx:pt idx="1593">Montauban</cx:pt>
          <cx:pt idx="1594">Montauban</cx:pt>
          <cx:pt idx="1595">Montauban</cx:pt>
          <cx:pt idx="1596">Montauban</cx:pt>
          <cx:pt idx="1597">Montauban</cx:pt>
          <cx:pt idx="1598">Montauban</cx:pt>
          <cx:pt idx="1599">Montauban</cx:pt>
          <cx:pt idx="1600">Cergy</cx:pt>
          <cx:pt idx="1601">Avignon</cx:pt>
          <cx:pt idx="1602">Avignon</cx:pt>
          <cx:pt idx="1603">Avignon</cx:pt>
          <cx:pt idx="1604">Avignon</cx:pt>
          <cx:pt idx="1605">Avignon</cx:pt>
          <cx:pt idx="1606">Avignon</cx:pt>
          <cx:pt idx="1607">Avignon</cx:pt>
          <cx:pt idx="1608">Avignon</cx:pt>
          <cx:pt idx="1609">Avignon</cx:pt>
          <cx:pt idx="1610">Avignon</cx:pt>
          <cx:pt idx="1611">Avignon</cx:pt>
          <cx:pt idx="1612">Avignon</cx:pt>
          <cx:pt idx="1613">Avignon</cx:pt>
          <cx:pt idx="1614">Avignon</cx:pt>
          <cx:pt idx="1615">Avignon</cx:pt>
          <cx:pt idx="1616">Avignon</cx:pt>
          <cx:pt idx="1617">Avignon</cx:pt>
          <cx:pt idx="1618">Avignon</cx:pt>
          <cx:pt idx="1619">Avignon</cx:pt>
          <cx:pt idx="1620">Avignon</cx:pt>
          <cx:pt idx="1621">Avignon</cx:pt>
          <cx:pt idx="1622">Avignon</cx:pt>
          <cx:pt idx="1623">Avignon</cx:pt>
          <cx:pt idx="1624">Avignon</cx:pt>
          <cx:pt idx="1625">Avignon</cx:pt>
          <cx:pt idx="1626">Avignon</cx:pt>
          <cx:pt idx="1627">Avignon</cx:pt>
          <cx:pt idx="1628">Avignon</cx:pt>
          <cx:pt idx="1629">Avignon</cx:pt>
          <cx:pt idx="1630">Avignon</cx:pt>
          <cx:pt idx="1631">Avignon</cx:pt>
          <cx:pt idx="1632">Avignon</cx:pt>
          <cx:pt idx="1633">Avignon</cx:pt>
          <cx:pt idx="1634">Avignon</cx:pt>
          <cx:pt idx="1635">Avignon</cx:pt>
          <cx:pt idx="1636">Reims</cx:pt>
          <cx:pt idx="1637">Reims</cx:pt>
          <cx:pt idx="1638">Reims</cx:pt>
          <cx:pt idx="1639">Reims</cx:pt>
          <cx:pt idx="1640">Reims</cx:pt>
          <cx:pt idx="1641">Reims</cx:pt>
          <cx:pt idx="1642">Cergy</cx:pt>
          <cx:pt idx="1643">Avignon</cx:pt>
          <cx:pt idx="1644">Avignon</cx:pt>
          <cx:pt idx="1645">Avignon</cx:pt>
          <cx:pt idx="1646">Cergy</cx:pt>
          <cx:pt idx="1647">Cergy</cx:pt>
          <cx:pt idx="1648">Cergy</cx:pt>
          <cx:pt idx="1649">Cergy</cx:pt>
          <cx:pt idx="1650">Cergy</cx:pt>
          <cx:pt idx="1651">Cergy</cx:pt>
          <cx:pt idx="1652">Cergy</cx:pt>
          <cx:pt idx="1653">Cergy</cx:pt>
          <cx:pt idx="1654">Cergy</cx:pt>
          <cx:pt idx="1655">Cergy</cx:pt>
          <cx:pt idx="1656">Cergy</cx:pt>
          <cx:pt idx="1657">Cergy</cx:pt>
          <cx:pt idx="1658">Cergy</cx:pt>
          <cx:pt idx="1659">Cergy</cx:pt>
          <cx:pt idx="1660">Cergy</cx:pt>
          <cx:pt idx="1661">Montauban</cx:pt>
          <cx:pt idx="1662">Montauban</cx:pt>
          <cx:pt idx="1663">Montauban</cx:pt>
          <cx:pt idx="1664">Montauban</cx:pt>
          <cx:pt idx="1665">Montauban</cx:pt>
          <cx:pt idx="1666">Montauban</cx:pt>
          <cx:pt idx="1667">Montauban</cx:pt>
          <cx:pt idx="1668">Montauban</cx:pt>
          <cx:pt idx="1669">Montauban</cx:pt>
          <cx:pt idx="1670">Montauban</cx:pt>
          <cx:pt idx="1671">Montauban</cx:pt>
          <cx:pt idx="1672">Montauban</cx:pt>
          <cx:pt idx="1673">Montauban</cx:pt>
          <cx:pt idx="1674">Montauban</cx:pt>
          <cx:pt idx="1675">Montauban</cx:pt>
          <cx:pt idx="1676">Montauban</cx:pt>
          <cx:pt idx="1677">Reims</cx:pt>
          <cx:pt idx="1678">Reims</cx:pt>
          <cx:pt idx="1679">Reims</cx:pt>
          <cx:pt idx="1680">Cergy</cx:pt>
          <cx:pt idx="1681">Cergy</cx:pt>
          <cx:pt idx="1682">Cergy</cx:pt>
          <cx:pt idx="1683">Reims</cx:pt>
          <cx:pt idx="1684">Cergy</cx:pt>
          <cx:pt idx="1685">Cergy</cx:pt>
          <cx:pt idx="1686">Cergy</cx:pt>
          <cx:pt idx="1687">Cergy</cx:pt>
          <cx:pt idx="1688">Cergy</cx:pt>
          <cx:pt idx="1689">Cergy</cx:pt>
          <cx:pt idx="1690">Cergy</cx:pt>
          <cx:pt idx="1691">Cergy</cx:pt>
          <cx:pt idx="1692">Cergy</cx:pt>
          <cx:pt idx="1693">Cergy</cx:pt>
          <cx:pt idx="1694">Cergy</cx:pt>
          <cx:pt idx="1695">Cergy</cx:pt>
          <cx:pt idx="1696">Cergy</cx:pt>
          <cx:pt idx="1697">Cergy</cx:pt>
          <cx:pt idx="1698">Cergy</cx:pt>
          <cx:pt idx="1699">Montauban</cx:pt>
          <cx:pt idx="1700">Montauban</cx:pt>
          <cx:pt idx="1701">Reims</cx:pt>
          <cx:pt idx="1702">Reims</cx:pt>
          <cx:pt idx="1703">Reims</cx:pt>
          <cx:pt idx="1704">Reims</cx:pt>
          <cx:pt idx="1705">Reims</cx:pt>
          <cx:pt idx="1706">Reims</cx:pt>
          <cx:pt idx="1707">Reims</cx:pt>
          <cx:pt idx="1708">Reims</cx:pt>
          <cx:pt idx="1709">Reims</cx:pt>
          <cx:pt idx="1710">Reims</cx:pt>
          <cx:pt idx="1711">Reims</cx:pt>
          <cx:pt idx="1712">Reims</cx:pt>
          <cx:pt idx="1713">Reims</cx:pt>
          <cx:pt idx="1714">Reims</cx:pt>
          <cx:pt idx="1715">Reims</cx:pt>
          <cx:pt idx="1716">Reims</cx:pt>
          <cx:pt idx="1717">Reims</cx:pt>
          <cx:pt idx="1718">Reims</cx:pt>
          <cx:pt idx="1719">Cergy</cx:pt>
          <cx:pt idx="1720">Cergy</cx:pt>
          <cx:pt idx="1721">Cergy</cx:pt>
          <cx:pt idx="1722">Cergy</cx:pt>
          <cx:pt idx="1723">Cergy</cx:pt>
          <cx:pt idx="1724">Cergy</cx:pt>
          <cx:pt idx="1725">Cergy</cx:pt>
          <cx:pt idx="1726">Cergy</cx:pt>
          <cx:pt idx="1727">Cergy</cx:pt>
          <cx:pt idx="1728">Cergy</cx:pt>
          <cx:pt idx="1729">Cergy</cx:pt>
          <cx:pt idx="1730">Cergy</cx:pt>
          <cx:pt idx="1731">Cergy</cx:pt>
          <cx:pt idx="1732">Cergy</cx:pt>
          <cx:pt idx="1733">Cergy</cx:pt>
          <cx:pt idx="1734">Cergy</cx:pt>
          <cx:pt idx="1735">Cergy</cx:pt>
          <cx:pt idx="1736">Cergy</cx:pt>
          <cx:pt idx="1737">Cergy</cx:pt>
          <cx:pt idx="1738">Reims</cx:pt>
          <cx:pt idx="1739">Cergy</cx:pt>
          <cx:pt idx="1740">Reims</cx:pt>
          <cx:pt idx="1741">Reims</cx:pt>
          <cx:pt idx="1742">Reims</cx:pt>
          <cx:pt idx="1743">Cergy</cx:pt>
          <cx:pt idx="1744">Cergy</cx:pt>
          <cx:pt idx="1745">Cergy</cx:pt>
          <cx:pt idx="1746">Cergy</cx:pt>
          <cx:pt idx="1747">Cergy</cx:pt>
          <cx:pt idx="1748">Avignon</cx:pt>
          <cx:pt idx="1749">Cergy</cx:pt>
          <cx:pt idx="1750">Montauban</cx:pt>
          <cx:pt idx="1751">Montauban</cx:pt>
          <cx:pt idx="1752">Montauban</cx:pt>
          <cx:pt idx="1753">Montauban</cx:pt>
          <cx:pt idx="1754">Montauban</cx:pt>
          <cx:pt idx="1755">Cergy</cx:pt>
          <cx:pt idx="1756">Cergy</cx:pt>
          <cx:pt idx="1757">Reims</cx:pt>
          <cx:pt idx="1758">Reims</cx:pt>
          <cx:pt idx="1759">Reims</cx:pt>
          <cx:pt idx="1760">Reims</cx:pt>
          <cx:pt idx="1761">Reims</cx:pt>
          <cx:pt idx="1762">Cergy</cx:pt>
          <cx:pt idx="1763">Cergy</cx:pt>
          <cx:pt idx="1764">Cergy</cx:pt>
          <cx:pt idx="1765">Cergy</cx:pt>
          <cx:pt idx="1766">Cergy</cx:pt>
          <cx:pt idx="1767">Cergy</cx:pt>
          <cx:pt idx="1768">Cergy</cx:pt>
          <cx:pt idx="1769">Cergy</cx:pt>
          <cx:pt idx="1770">Cergy</cx:pt>
          <cx:pt idx="1771">Cergy</cx:pt>
          <cx:pt idx="1772">Cergy</cx:pt>
          <cx:pt idx="1773">Cergy</cx:pt>
          <cx:pt idx="1774">Cergy</cx:pt>
          <cx:pt idx="1775">Cergy</cx:pt>
          <cx:pt idx="1776">Cergy</cx:pt>
          <cx:pt idx="1777">Cergy</cx:pt>
          <cx:pt idx="1778">Cergy</cx:pt>
          <cx:pt idx="1779">Cergy</cx:pt>
          <cx:pt idx="1780">Cergy</cx:pt>
          <cx:pt idx="1781">Cergy</cx:pt>
          <cx:pt idx="1782">Cergy</cx:pt>
          <cx:pt idx="1783">Cergy</cx:pt>
          <cx:pt idx="1784">Cergy</cx:pt>
          <cx:pt idx="1785">Cergy</cx:pt>
          <cx:pt idx="1786">Cergy</cx:pt>
          <cx:pt idx="1787">Cergy</cx:pt>
          <cx:pt idx="1788">Cergy</cx:pt>
          <cx:pt idx="1789">Cergy</cx:pt>
          <cx:pt idx="1790">Cergy</cx:pt>
          <cx:pt idx="1791">Cergy</cx:pt>
          <cx:pt idx="1792">Cergy</cx:pt>
          <cx:pt idx="1793">Cergy</cx:pt>
          <cx:pt idx="1794">Cergy</cx:pt>
          <cx:pt idx="1795">Cergy</cx:pt>
          <cx:pt idx="1796">Cergy</cx:pt>
          <cx:pt idx="1797">Cergy</cx:pt>
          <cx:pt idx="1798">Cergy</cx:pt>
          <cx:pt idx="1799">Cergy</cx:pt>
          <cx:pt idx="1800">Cergy</cx:pt>
          <cx:pt idx="1801">Cergy</cx:pt>
          <cx:pt idx="1802">Cergy</cx:pt>
          <cx:pt idx="1803">Cergy</cx:pt>
          <cx:pt idx="1804">Avignon</cx:pt>
          <cx:pt idx="1805">Reims</cx:pt>
          <cx:pt idx="1806">Avignon</cx:pt>
          <cx:pt idx="1807">Avignon</cx:pt>
          <cx:pt idx="1808">Avignon</cx:pt>
          <cx:pt idx="1809">Avignon</cx:pt>
          <cx:pt idx="1810">Reims</cx:pt>
          <cx:pt idx="1811">Reims</cx:pt>
          <cx:pt idx="1812">Reims</cx:pt>
          <cx:pt idx="1813">Reims</cx:pt>
          <cx:pt idx="1814">Reims</cx:pt>
          <cx:pt idx="1815">Reims</cx:pt>
          <cx:pt idx="1816">Reims</cx:pt>
          <cx:pt idx="1817">Reims</cx:pt>
          <cx:pt idx="1818">Reims</cx:pt>
          <cx:pt idx="1819">Reims</cx:pt>
          <cx:pt idx="1820">Reims</cx:pt>
          <cx:pt idx="1821">Reims</cx:pt>
          <cx:pt idx="1822">Reims</cx:pt>
          <cx:pt idx="1823">Reims</cx:pt>
          <cx:pt idx="1824">Reims</cx:pt>
          <cx:pt idx="1825">Reims</cx:pt>
          <cx:pt idx="1826">Reims</cx:pt>
          <cx:pt idx="1827">Reims</cx:pt>
          <cx:pt idx="1828">Reims</cx:pt>
          <cx:pt idx="1829">Reims</cx:pt>
          <cx:pt idx="1830">Reims</cx:pt>
          <cx:pt idx="1831">Reims</cx:pt>
          <cx:pt idx="1832">Reims</cx:pt>
          <cx:pt idx="1833">Reims</cx:pt>
          <cx:pt idx="1834">Reims</cx:pt>
          <cx:pt idx="1835">Reims</cx:pt>
          <cx:pt idx="1836">Montauban</cx:pt>
          <cx:pt idx="1837">Reims</cx:pt>
          <cx:pt idx="1838">Cergy</cx:pt>
          <cx:pt idx="1839">Cergy</cx:pt>
          <cx:pt idx="1840">Reims</cx:pt>
          <cx:pt idx="1841">Reims</cx:pt>
          <cx:pt idx="1842">Cergy</cx:pt>
          <cx:pt idx="1843">Cergy</cx:pt>
          <cx:pt idx="1844">Reims</cx:pt>
          <cx:pt idx="1845">Cergy</cx:pt>
          <cx:pt idx="1846">Cergy</cx:pt>
          <cx:pt idx="1847">Cergy</cx:pt>
          <cx:pt idx="1848">Reims</cx:pt>
          <cx:pt idx="1849">Reims</cx:pt>
          <cx:pt idx="1850">Reims</cx:pt>
          <cx:pt idx="1851">Montauban</cx:pt>
          <cx:pt idx="1852">Reims</cx:pt>
          <cx:pt idx="1853">Reims</cx:pt>
          <cx:pt idx="1854">Montauban</cx:pt>
          <cx:pt idx="1855">Montauban</cx:pt>
          <cx:pt idx="1856">Montauban</cx:pt>
          <cx:pt idx="1857">Montauban</cx:pt>
          <cx:pt idx="1858">Montauban</cx:pt>
          <cx:pt idx="1859">Cergy</cx:pt>
          <cx:pt idx="1860">Cergy</cx:pt>
          <cx:pt idx="1861">Avignon</cx:pt>
          <cx:pt idx="1862">Avignon</cx:pt>
          <cx:pt idx="1863">Avignon</cx:pt>
          <cx:pt idx="1864">Avignon</cx:pt>
          <cx:pt idx="1865">Avignon</cx:pt>
          <cx:pt idx="1866">Avignon</cx:pt>
          <cx:pt idx="1867">Avignon</cx:pt>
          <cx:pt idx="1868">Avignon</cx:pt>
          <cx:pt idx="1869">Avignon</cx:pt>
          <cx:pt idx="1870">Avignon</cx:pt>
          <cx:pt idx="1871">Avignon</cx:pt>
          <cx:pt idx="1872">Avignon</cx:pt>
          <cx:pt idx="1873">Avignon</cx:pt>
          <cx:pt idx="1874">Avignon</cx:pt>
          <cx:pt idx="1875">Avignon</cx:pt>
          <cx:pt idx="1876">Avignon</cx:pt>
          <cx:pt idx="1877">Avignon</cx:pt>
          <cx:pt idx="1878">Avignon</cx:pt>
          <cx:pt idx="1879">Reims</cx:pt>
          <cx:pt idx="1880">Avignon</cx:pt>
          <cx:pt idx="1881">Avignon</cx:pt>
          <cx:pt idx="1882">Avignon</cx:pt>
          <cx:pt idx="1883">Cergy</cx:pt>
          <cx:pt idx="1884">Cergy</cx:pt>
          <cx:pt idx="1885">Avignon</cx:pt>
          <cx:pt idx="1886">Avignon</cx:pt>
          <cx:pt idx="1887">Avignon</cx:pt>
          <cx:pt idx="1888">Avignon</cx:pt>
          <cx:pt idx="1889">Avignon</cx:pt>
          <cx:pt idx="1890">Avignon</cx:pt>
          <cx:pt idx="1891">Avignon</cx:pt>
          <cx:pt idx="1892">Avignon</cx:pt>
          <cx:pt idx="1893">Cergy</cx:pt>
          <cx:pt idx="1894">Avignon</cx:pt>
          <cx:pt idx="1895">Cergy</cx:pt>
          <cx:pt idx="1896">Cergy</cx:pt>
          <cx:pt idx="1897">Cergy</cx:pt>
          <cx:pt idx="1898">Reims</cx:pt>
          <cx:pt idx="1899">Cergy</cx:pt>
          <cx:pt idx="1900">Cergy</cx:pt>
          <cx:pt idx="1901">Reims</cx:pt>
          <cx:pt idx="1902">Reims</cx:pt>
          <cx:pt idx="1903">Reims</cx:pt>
          <cx:pt idx="1904">Reims</cx:pt>
          <cx:pt idx="1905">Reims</cx:pt>
          <cx:pt idx="1906">Reims</cx:pt>
          <cx:pt idx="1907">Reims</cx:pt>
          <cx:pt idx="1908">Reims</cx:pt>
          <cx:pt idx="1909">Reims</cx:pt>
          <cx:pt idx="1910">Reims</cx:pt>
          <cx:pt idx="1911">Reims</cx:pt>
          <cx:pt idx="1912">Reims</cx:pt>
          <cx:pt idx="1913">Reims</cx:pt>
          <cx:pt idx="1914">Reims</cx:pt>
          <cx:pt idx="1915">Reims</cx:pt>
          <cx:pt idx="1916">Reims</cx:pt>
          <cx:pt idx="1917">Reims</cx:pt>
          <cx:pt idx="1918">Reims</cx:pt>
          <cx:pt idx="1919">Reims</cx:pt>
          <cx:pt idx="1920">Cergy</cx:pt>
          <cx:pt idx="1921">Montauban</cx:pt>
          <cx:pt idx="1922">Reims</cx:pt>
          <cx:pt idx="1923">Reims</cx:pt>
          <cx:pt idx="1924">Avignon</cx:pt>
          <cx:pt idx="1925">Avignon</cx:pt>
          <cx:pt idx="1926">Reims</cx:pt>
          <cx:pt idx="1927">Cergy</cx:pt>
          <cx:pt idx="1928">Cergy</cx:pt>
          <cx:pt idx="1929">Cergy</cx:pt>
          <cx:pt idx="1930">Cergy</cx:pt>
          <cx:pt idx="1931">Reims</cx:pt>
          <cx:pt idx="1932">Cergy</cx:pt>
          <cx:pt idx="1933">Cergy</cx:pt>
          <cx:pt idx="1934">Avignon</cx:pt>
          <cx:pt idx="1935">Montauban</cx:pt>
          <cx:pt idx="1936">Montauban</cx:pt>
          <cx:pt idx="1937">Reims</cx:pt>
          <cx:pt idx="1938">Reims</cx:pt>
          <cx:pt idx="1939">Reims</cx:pt>
          <cx:pt idx="1940">Reims</cx:pt>
          <cx:pt idx="1941">Reims</cx:pt>
          <cx:pt idx="1942">Reims</cx:pt>
          <cx:pt idx="1943">Reims</cx:pt>
          <cx:pt idx="1944">Reims</cx:pt>
          <cx:pt idx="1945">Reims</cx:pt>
          <cx:pt idx="1946">Reims</cx:pt>
          <cx:pt idx="1947">Reims</cx:pt>
          <cx:pt idx="1948">Reims</cx:pt>
          <cx:pt idx="1949">Reims</cx:pt>
          <cx:pt idx="1950">Reims</cx:pt>
          <cx:pt idx="1951">Reims</cx:pt>
          <cx:pt idx="1952">Reims</cx:pt>
          <cx:pt idx="1953">Reims</cx:pt>
          <cx:pt idx="1954">Reims</cx:pt>
          <cx:pt idx="1955">Reims</cx:pt>
          <cx:pt idx="1956">Reims</cx:pt>
          <cx:pt idx="1957">Reims</cx:pt>
          <cx:pt idx="1958">Reims</cx:pt>
          <cx:pt idx="1959">Reims</cx:pt>
          <cx:pt idx="1960">Avignon</cx:pt>
          <cx:pt idx="1961">Reims</cx:pt>
          <cx:pt idx="1962">Montauban</cx:pt>
          <cx:pt idx="1963">Cergy</cx:pt>
          <cx:pt idx="1964">Cergy</cx:pt>
          <cx:pt idx="1965">Montauban</cx:pt>
          <cx:pt idx="1966">Montauban</cx:pt>
          <cx:pt idx="1967">Montauban</cx:pt>
          <cx:pt idx="1968">Montauban</cx:pt>
          <cx:pt idx="1969">Montauban</cx:pt>
          <cx:pt idx="1970">Montauban</cx:pt>
          <cx:pt idx="1971">Montauban</cx:pt>
          <cx:pt idx="1972">Montauban</cx:pt>
          <cx:pt idx="1973">Montauban</cx:pt>
          <cx:pt idx="1974">Reims</cx:pt>
          <cx:pt idx="1975">Avignon</cx:pt>
          <cx:pt idx="1976">Avignon</cx:pt>
          <cx:pt idx="1977">Avignon</cx:pt>
          <cx:pt idx="1978">Reims</cx:pt>
          <cx:pt idx="1979">Cergy</cx:pt>
          <cx:pt idx="1980">Cergy</cx:pt>
          <cx:pt idx="1981">Cergy</cx:pt>
          <cx:pt idx="1982">Cergy</cx:pt>
          <cx:pt idx="1983">Cergy</cx:pt>
          <cx:pt idx="1984">Cergy</cx:pt>
          <cx:pt idx="1985">Cergy</cx:pt>
          <cx:pt idx="1986">Cergy</cx:pt>
          <cx:pt idx="1987">Cergy</cx:pt>
          <cx:pt idx="1988">Cergy</cx:pt>
          <cx:pt idx="1989">Cergy</cx:pt>
          <cx:pt idx="1990">Cergy</cx:pt>
          <cx:pt idx="1991">Cergy</cx:pt>
          <cx:pt idx="1992">Cergy</cx:pt>
          <cx:pt idx="1993">Cergy</cx:pt>
          <cx:pt idx="1994">Cergy</cx:pt>
          <cx:pt idx="1995">Cergy</cx:pt>
          <cx:pt idx="1996">Cergy</cx:pt>
          <cx:pt idx="1997">Cergy</cx:pt>
          <cx:pt idx="1998">Cergy</cx:pt>
          <cx:pt idx="1999">Cergy</cx:pt>
          <cx:pt idx="2000">Cergy</cx:pt>
          <cx:pt idx="2001">Cergy</cx:pt>
          <cx:pt idx="2002">Cergy</cx:pt>
          <cx:pt idx="2003">Cergy</cx:pt>
          <cx:pt idx="2004">Cergy</cx:pt>
          <cx:pt idx="2005">Cergy</cx:pt>
          <cx:pt idx="2006">Cergy</cx:pt>
          <cx:pt idx="2007">Montauban</cx:pt>
          <cx:pt idx="2008">Avignon</cx:pt>
          <cx:pt idx="2009">Montauban</cx:pt>
          <cx:pt idx="2010">Reims</cx:pt>
          <cx:pt idx="2011">Reims</cx:pt>
          <cx:pt idx="2012">Montauban</cx:pt>
          <cx:pt idx="2013">Montauban</cx:pt>
          <cx:pt idx="2014">Cergy</cx:pt>
          <cx:pt idx="2015">Cergy</cx:pt>
          <cx:pt idx="2016">Cergy</cx:pt>
          <cx:pt idx="2017">Cergy</cx:pt>
          <cx:pt idx="2018">Cergy</cx:pt>
          <cx:pt idx="2019">Cergy</cx:pt>
          <cx:pt idx="2020">Cergy</cx:pt>
          <cx:pt idx="2021">Cergy</cx:pt>
          <cx:pt idx="2022">Montauban</cx:pt>
          <cx:pt idx="2023">Montauban</cx:pt>
          <cx:pt idx="2024">Montauban</cx:pt>
          <cx:pt idx="2025">Montauban</cx:pt>
          <cx:pt idx="2026">Montauban</cx:pt>
          <cx:pt idx="2027">Montauban</cx:pt>
          <cx:pt idx="2028">Montauban</cx:pt>
          <cx:pt idx="2029">Montauban</cx:pt>
          <cx:pt idx="2030">Reims</cx:pt>
          <cx:pt idx="2031">Reims</cx:pt>
          <cx:pt idx="2032">Reims</cx:pt>
          <cx:pt idx="2033">Reims</cx:pt>
          <cx:pt idx="2034">Reims</cx:pt>
          <cx:pt idx="2035">Reims</cx:pt>
          <cx:pt idx="2036">Reims</cx:pt>
          <cx:pt idx="2037">Reims</cx:pt>
          <cx:pt idx="2038">Reims</cx:pt>
          <cx:pt idx="2039">Reims</cx:pt>
          <cx:pt idx="2040">Reims</cx:pt>
          <cx:pt idx="2041">Reims</cx:pt>
          <cx:pt idx="2042">Reims</cx:pt>
          <cx:pt idx="2043">Reims</cx:pt>
          <cx:pt idx="2044">Reims</cx:pt>
          <cx:pt idx="2045">Reims</cx:pt>
          <cx:pt idx="2046">Reims</cx:pt>
          <cx:pt idx="2047">Reims</cx:pt>
          <cx:pt idx="2048">Reims</cx:pt>
          <cx:pt idx="2049">Reims</cx:pt>
          <cx:pt idx="2050">Avignon</cx:pt>
          <cx:pt idx="2051">Avignon</cx:pt>
          <cx:pt idx="2052">Avignon</cx:pt>
          <cx:pt idx="2053">Avignon</cx:pt>
          <cx:pt idx="2054">Avignon</cx:pt>
          <cx:pt idx="2055">Avignon</cx:pt>
          <cx:pt idx="2056">Avignon</cx:pt>
          <cx:pt idx="2057">Cergy</cx:pt>
          <cx:pt idx="2058">Montauban</cx:pt>
          <cx:pt idx="2059">Montauban</cx:pt>
          <cx:pt idx="2060">Montauban</cx:pt>
          <cx:pt idx="2061">Montauban</cx:pt>
          <cx:pt idx="2062">Montauban</cx:pt>
          <cx:pt idx="2063">Montauban</cx:pt>
          <cx:pt idx="2064">Montauban</cx:pt>
          <cx:pt idx="2065">Montauban</cx:pt>
          <cx:pt idx="2066">Montauban</cx:pt>
          <cx:pt idx="2067">Montauban</cx:pt>
          <cx:pt idx="2068">Avignon</cx:pt>
          <cx:pt idx="2069">Avignon</cx:pt>
          <cx:pt idx="2070">Avignon</cx:pt>
          <cx:pt idx="2071">Avignon</cx:pt>
          <cx:pt idx="2072">Avignon</cx:pt>
          <cx:pt idx="2073">Avignon</cx:pt>
          <cx:pt idx="2074">Avignon</cx:pt>
          <cx:pt idx="2075">Avignon</cx:pt>
          <cx:pt idx="2076">Avignon</cx:pt>
          <cx:pt idx="2077">Avignon</cx:pt>
          <cx:pt idx="2078">Avignon</cx:pt>
          <cx:pt idx="2079">Avignon</cx:pt>
          <cx:pt idx="2080">Avignon</cx:pt>
          <cx:pt idx="2081">Avignon</cx:pt>
          <cx:pt idx="2082">Avignon</cx:pt>
          <cx:pt idx="2083">Avignon</cx:pt>
          <cx:pt idx="2084">Avignon</cx:pt>
          <cx:pt idx="2085">Avignon</cx:pt>
          <cx:pt idx="2086">Avignon</cx:pt>
          <cx:pt idx="2087">Cergy</cx:pt>
          <cx:pt idx="2088">Cergy</cx:pt>
          <cx:pt idx="2089">Cergy</cx:pt>
          <cx:pt idx="2090">Cergy</cx:pt>
          <cx:pt idx="2091">Cergy</cx:pt>
          <cx:pt idx="2092">Cergy</cx:pt>
          <cx:pt idx="2093">Cergy</cx:pt>
          <cx:pt idx="2094">Cergy</cx:pt>
          <cx:pt idx="2095">Cergy</cx:pt>
          <cx:pt idx="2096">Cergy</cx:pt>
          <cx:pt idx="2097">Cergy</cx:pt>
          <cx:pt idx="2098">Cergy</cx:pt>
          <cx:pt idx="2099">Cergy</cx:pt>
          <cx:pt idx="2100">Cergy</cx:pt>
          <cx:pt idx="2101">Cergy</cx:pt>
          <cx:pt idx="2102">Cergy</cx:pt>
          <cx:pt idx="2103">Cergy</cx:pt>
          <cx:pt idx="2104">Cergy</cx:pt>
          <cx:pt idx="2105">Cergy</cx:pt>
          <cx:pt idx="2106">Cergy</cx:pt>
          <cx:pt idx="2107">Cergy</cx:pt>
          <cx:pt idx="2108">Cergy</cx:pt>
          <cx:pt idx="2109">Cergy</cx:pt>
          <cx:pt idx="2110">Cergy</cx:pt>
          <cx:pt idx="2111">Cergy</cx:pt>
          <cx:pt idx="2112">Cergy</cx:pt>
          <cx:pt idx="2113">Cergy</cx:pt>
          <cx:pt idx="2114">Cergy</cx:pt>
          <cx:pt idx="2115">Cergy</cx:pt>
          <cx:pt idx="2116">Avignon</cx:pt>
          <cx:pt idx="2117">Cergy</cx:pt>
          <cx:pt idx="2118">Cergy</cx:pt>
          <cx:pt idx="2119">Cergy</cx:pt>
          <cx:pt idx="2120">Montauban</cx:pt>
          <cx:pt idx="2121">Montauban</cx:pt>
          <cx:pt idx="2122">Montauban</cx:pt>
          <cx:pt idx="2123">Avignon</cx:pt>
          <cx:pt idx="2124">Cergy</cx:pt>
          <cx:pt idx="2125">Avignon</cx:pt>
          <cx:pt idx="2126">Cergy</cx:pt>
          <cx:pt idx="2127">Cergy</cx:pt>
          <cx:pt idx="2128">Cergy</cx:pt>
          <cx:pt idx="2129">Cergy</cx:pt>
          <cx:pt idx="2130">Cergy</cx:pt>
          <cx:pt idx="2131">Cergy</cx:pt>
          <cx:pt idx="2132">Cergy</cx:pt>
          <cx:pt idx="2133">Cergy</cx:pt>
          <cx:pt idx="2134">Cergy</cx:pt>
          <cx:pt idx="2135">Cergy</cx:pt>
          <cx:pt idx="2136">Cergy</cx:pt>
          <cx:pt idx="2137">Cergy</cx:pt>
          <cx:pt idx="2138">Montauban</cx:pt>
          <cx:pt idx="2139">Montauban</cx:pt>
          <cx:pt idx="2140">Cergy</cx:pt>
          <cx:pt idx="2141">Cergy</cx:pt>
          <cx:pt idx="2142">Cergy</cx:pt>
          <cx:pt idx="2143">Cergy</cx:pt>
          <cx:pt idx="2144">Avignon</cx:pt>
          <cx:pt idx="2145">Cergy</cx:pt>
          <cx:pt idx="2146">Cergy</cx:pt>
          <cx:pt idx="2147">Reims</cx:pt>
          <cx:pt idx="2148">Montauban</cx:pt>
          <cx:pt idx="2149">Cergy</cx:pt>
          <cx:pt idx="2150">Cergy</cx:pt>
          <cx:pt idx="2151">Cergy</cx:pt>
          <cx:pt idx="2152">Cergy</cx:pt>
          <cx:pt idx="2153">Montauban</cx:pt>
          <cx:pt idx="2154">Montauban</cx:pt>
          <cx:pt idx="2155">Cergy</cx:pt>
          <cx:pt idx="2156">Cergy</cx:pt>
          <cx:pt idx="2157">Avignon</cx:pt>
          <cx:pt idx="2158">Avignon</cx:pt>
          <cx:pt idx="2159">Avignon</cx:pt>
          <cx:pt idx="2160">Montauban</cx:pt>
          <cx:pt idx="2161">Reims</cx:pt>
          <cx:pt idx="2162">Reims</cx:pt>
          <cx:pt idx="2163">Reims</cx:pt>
          <cx:pt idx="2164">Reims</cx:pt>
          <cx:pt idx="2165">Reims</cx:pt>
          <cx:pt idx="2166">Reims</cx:pt>
          <cx:pt idx="2167">Reims</cx:pt>
          <cx:pt idx="2168">Reims</cx:pt>
          <cx:pt idx="2169">Reims</cx:pt>
          <cx:pt idx="2170">Reims</cx:pt>
          <cx:pt idx="2171">Reims</cx:pt>
          <cx:pt idx="2172">Reims</cx:pt>
          <cx:pt idx="2173">Reims</cx:pt>
          <cx:pt idx="2174">Reims</cx:pt>
          <cx:pt idx="2175">Reims</cx:pt>
          <cx:pt idx="2176">Reims</cx:pt>
          <cx:pt idx="2177">Reims</cx:pt>
          <cx:pt idx="2178">Reims</cx:pt>
          <cx:pt idx="2179">Reims</cx:pt>
          <cx:pt idx="2180">Reims</cx:pt>
          <cx:pt idx="2181">Reims</cx:pt>
          <cx:pt idx="2182">Reims</cx:pt>
          <cx:pt idx="2183">Montauban</cx:pt>
          <cx:pt idx="2184">Montauban</cx:pt>
          <cx:pt idx="2185">Montauban</cx:pt>
          <cx:pt idx="2186">Montauban</cx:pt>
          <cx:pt idx="2187">Cergy</cx:pt>
          <cx:pt idx="2188">Cergy</cx:pt>
          <cx:pt idx="2189">Cergy</cx:pt>
          <cx:pt idx="2190">Cergy</cx:pt>
          <cx:pt idx="2191">Cergy</cx:pt>
          <cx:pt idx="2192">Cergy</cx:pt>
          <cx:pt idx="2193">Cergy</cx:pt>
          <cx:pt idx="2194">Cergy</cx:pt>
          <cx:pt idx="2195">Cergy</cx:pt>
          <cx:pt idx="2196">Cergy</cx:pt>
          <cx:pt idx="2197">Cergy</cx:pt>
          <cx:pt idx="2198">Cergy</cx:pt>
          <cx:pt idx="2199">Cergy</cx:pt>
          <cx:pt idx="2200">Avignon</cx:pt>
          <cx:pt idx="2201">Montauban</cx:pt>
          <cx:pt idx="2202">Reims</cx:pt>
          <cx:pt idx="2203">Reims</cx:pt>
          <cx:pt idx="2204">Reims</cx:pt>
          <cx:pt idx="2205">Reims</cx:pt>
          <cx:pt idx="2206">Cergy</cx:pt>
          <cx:pt idx="2207">Montauban</cx:pt>
          <cx:pt idx="2208">Montauban</cx:pt>
          <cx:pt idx="2209">Montauban</cx:pt>
          <cx:pt idx="2210">Montauban</cx:pt>
          <cx:pt idx="2211">Avignon</cx:pt>
          <cx:pt idx="2212">Avignon</cx:pt>
          <cx:pt idx="2213">Avignon</cx:pt>
          <cx:pt idx="2214">Avignon</cx:pt>
          <cx:pt idx="2215">Avignon</cx:pt>
          <cx:pt idx="2216">Avignon</cx:pt>
          <cx:pt idx="2217">Avignon</cx:pt>
          <cx:pt idx="2218">Avignon</cx:pt>
          <cx:pt idx="2219">Avignon</cx:pt>
          <cx:pt idx="2220">Avignon</cx:pt>
          <cx:pt idx="2221">Avignon</cx:pt>
          <cx:pt idx="2222">Montauban</cx:pt>
          <cx:pt idx="2223">Cergy</cx:pt>
          <cx:pt idx="2224">Cergy</cx:pt>
          <cx:pt idx="2225">Cergy</cx:pt>
          <cx:pt idx="2226">Cergy</cx:pt>
          <cx:pt idx="2227">Cergy</cx:pt>
          <cx:pt idx="2228">Cergy</cx:pt>
          <cx:pt idx="2229">Cergy</cx:pt>
          <cx:pt idx="2230">Cergy</cx:pt>
          <cx:pt idx="2231">Cergy</cx:pt>
          <cx:pt idx="2232">Cergy</cx:pt>
          <cx:pt idx="2233">Cergy</cx:pt>
          <cx:pt idx="2234">Reims</cx:pt>
          <cx:pt idx="2235">Cergy</cx:pt>
          <cx:pt idx="2236">Cergy</cx:pt>
          <cx:pt idx="2237">Montauban</cx:pt>
          <cx:pt idx="2238">Reims</cx:pt>
          <cx:pt idx="2239">Reims</cx:pt>
          <cx:pt idx="2240">Montauban</cx:pt>
          <cx:pt idx="2241">Cergy</cx:pt>
          <cx:pt idx="2242">Cergy</cx:pt>
          <cx:pt idx="2243">Cergy</cx:pt>
          <cx:pt idx="2244">Cergy</cx:pt>
          <cx:pt idx="2245">Cergy</cx:pt>
          <cx:pt idx="2246">Avignon</cx:pt>
          <cx:pt idx="2247">Avignon</cx:pt>
          <cx:pt idx="2248">Avignon</cx:pt>
          <cx:pt idx="2249">Avignon</cx:pt>
          <cx:pt idx="2250">Avignon</cx:pt>
          <cx:pt idx="2251">Reims</cx:pt>
          <cx:pt idx="2252">Reims</cx:pt>
          <cx:pt idx="2253">Cergy</cx:pt>
          <cx:pt idx="2254">Cergy</cx:pt>
          <cx:pt idx="2255">Cergy</cx:pt>
          <cx:pt idx="2256">Cergy</cx:pt>
          <cx:pt idx="2257">Cergy</cx:pt>
          <cx:pt idx="2258">Cergy</cx:pt>
          <cx:pt idx="2259">Cergy</cx:pt>
          <cx:pt idx="2260">Cergy</cx:pt>
          <cx:pt idx="2261">Cergy</cx:pt>
          <cx:pt idx="2262">Cergy</cx:pt>
          <cx:pt idx="2263">Cergy</cx:pt>
          <cx:pt idx="2264">Cergy</cx:pt>
          <cx:pt idx="2265">Cergy</cx:pt>
          <cx:pt idx="2266">Cergy</cx:pt>
          <cx:pt idx="2267">Cergy</cx:pt>
          <cx:pt idx="2268">Cergy</cx:pt>
          <cx:pt idx="2269">Cergy</cx:pt>
          <cx:pt idx="2270">Cergy</cx:pt>
          <cx:pt idx="2271">Cergy</cx:pt>
          <cx:pt idx="2272">Cergy</cx:pt>
          <cx:pt idx="2273">Cergy</cx:pt>
          <cx:pt idx="2274">Reims</cx:pt>
          <cx:pt idx="2275">Avignon</cx:pt>
          <cx:pt idx="2276">Cergy</cx:pt>
          <cx:pt idx="2277">Cergy</cx:pt>
          <cx:pt idx="2278">Cergy</cx:pt>
          <cx:pt idx="2279">Cergy</cx:pt>
          <cx:pt idx="2280">Cergy</cx:pt>
          <cx:pt idx="2281">Montauban</cx:pt>
          <cx:pt idx="2282">Montauban</cx:pt>
          <cx:pt idx="2283">Montauban</cx:pt>
          <cx:pt idx="2284">Montauban</cx:pt>
          <cx:pt idx="2285">Montauban</cx:pt>
          <cx:pt idx="2286">Montauban</cx:pt>
          <cx:pt idx="2287">Montauban</cx:pt>
          <cx:pt idx="2288">Montauban</cx:pt>
          <cx:pt idx="2289">Montauban</cx:pt>
          <cx:pt idx="2290">Montauban</cx:pt>
          <cx:pt idx="2291">Montauban</cx:pt>
          <cx:pt idx="2292">Montauban</cx:pt>
          <cx:pt idx="2293">Montauban</cx:pt>
          <cx:pt idx="2294">Montauban</cx:pt>
          <cx:pt idx="2295">Montauban</cx:pt>
          <cx:pt idx="2296">Montauban</cx:pt>
          <cx:pt idx="2297">Montauban</cx:pt>
          <cx:pt idx="2298">Montauban</cx:pt>
          <cx:pt idx="2299">Montauban</cx:pt>
          <cx:pt idx="2300">Montauban</cx:pt>
          <cx:pt idx="2301">Montauban</cx:pt>
          <cx:pt idx="2302">Montauban</cx:pt>
          <cx:pt idx="2303">Montauban</cx:pt>
          <cx:pt idx="2304">Montauban</cx:pt>
          <cx:pt idx="2305">Montauban</cx:pt>
          <cx:pt idx="2306">Montauban</cx:pt>
          <cx:pt idx="2307">Montauban</cx:pt>
          <cx:pt idx="2308">Montauban</cx:pt>
          <cx:pt idx="2309">Montauban</cx:pt>
          <cx:pt idx="2310">Montauban</cx:pt>
          <cx:pt idx="2311">Montauban</cx:pt>
          <cx:pt idx="2312">Montauban</cx:pt>
          <cx:pt idx="2313">Montauban</cx:pt>
          <cx:pt idx="2314">Montauban</cx:pt>
          <cx:pt idx="2315">Montauban</cx:pt>
          <cx:pt idx="2316">Montauban</cx:pt>
          <cx:pt idx="2317">Cergy</cx:pt>
          <cx:pt idx="2318">Cergy</cx:pt>
          <cx:pt idx="2319">Cergy</cx:pt>
          <cx:pt idx="2320">Cergy</cx:pt>
          <cx:pt idx="2321">Cergy</cx:pt>
          <cx:pt idx="2322">Cergy</cx:pt>
          <cx:pt idx="2323">Cergy</cx:pt>
          <cx:pt idx="2324">Cergy</cx:pt>
          <cx:pt idx="2325">Cergy</cx:pt>
          <cx:pt idx="2326">Cergy</cx:pt>
          <cx:pt idx="2327">Cergy</cx:pt>
          <cx:pt idx="2328">Cergy</cx:pt>
          <cx:pt idx="2329">Cergy</cx:pt>
          <cx:pt idx="2330">Reims</cx:pt>
          <cx:pt idx="2331">Avignon</cx:pt>
          <cx:pt idx="2332">Avignon</cx:pt>
          <cx:pt idx="2333">Avignon</cx:pt>
          <cx:pt idx="2334">Avignon</cx:pt>
          <cx:pt idx="2335">Avignon</cx:pt>
          <cx:pt idx="2336">Cergy</cx:pt>
          <cx:pt idx="2337">Cergy</cx:pt>
          <cx:pt idx="2338">Cergy</cx:pt>
          <cx:pt idx="2339">Reims</cx:pt>
          <cx:pt idx="2340">Reims</cx:pt>
          <cx:pt idx="2341">Reims</cx:pt>
          <cx:pt idx="2342">Avignon</cx:pt>
          <cx:pt idx="2343">Avignon</cx:pt>
          <cx:pt idx="2344">Avignon</cx:pt>
          <cx:pt idx="2345">Avignon</cx:pt>
          <cx:pt idx="2346">Avignon</cx:pt>
          <cx:pt idx="2347">Avignon</cx:pt>
          <cx:pt idx="2348">Avignon</cx:pt>
          <cx:pt idx="2349">Avignon</cx:pt>
          <cx:pt idx="2350">Avignon</cx:pt>
          <cx:pt idx="2351">Avignon</cx:pt>
          <cx:pt idx="2352">Avignon</cx:pt>
          <cx:pt idx="2353">Avignon</cx:pt>
          <cx:pt idx="2354">Avignon</cx:pt>
          <cx:pt idx="2355">Avignon</cx:pt>
          <cx:pt idx="2356">Avignon</cx:pt>
          <cx:pt idx="2357">Avignon</cx:pt>
          <cx:pt idx="2358">Avignon</cx:pt>
          <cx:pt idx="2359">Avignon</cx:pt>
          <cx:pt idx="2360">Avignon</cx:pt>
          <cx:pt idx="2361">Avignon</cx:pt>
          <cx:pt idx="2362">Avignon</cx:pt>
          <cx:pt idx="2363">Avignon</cx:pt>
          <cx:pt idx="2364">Cergy</cx:pt>
          <cx:pt idx="2365">Montauban</cx:pt>
          <cx:pt idx="2366">Montauban</cx:pt>
          <cx:pt idx="2367">Montauban</cx:pt>
          <cx:pt idx="2368">Montauban</cx:pt>
          <cx:pt idx="2369">Montauban</cx:pt>
          <cx:pt idx="2370">Montauban</cx:pt>
          <cx:pt idx="2371">Montauban</cx:pt>
          <cx:pt idx="2372">Montauban</cx:pt>
          <cx:pt idx="2373">Montauban</cx:pt>
          <cx:pt idx="2374">Montauban</cx:pt>
          <cx:pt idx="2375">Montauban</cx:pt>
          <cx:pt idx="2376">Montauban</cx:pt>
          <cx:pt idx="2377">Montauban</cx:pt>
          <cx:pt idx="2378">Montauban</cx:pt>
          <cx:pt idx="2379">Montauban</cx:pt>
          <cx:pt idx="2380">Montauban</cx:pt>
          <cx:pt idx="2381">Montauban</cx:pt>
          <cx:pt idx="2382">Montauban</cx:pt>
          <cx:pt idx="2383">Montauban</cx:pt>
          <cx:pt idx="2384">Montauban</cx:pt>
          <cx:pt idx="2385">Montauban</cx:pt>
          <cx:pt idx="2386">Montauban</cx:pt>
          <cx:pt idx="2387">Montauban</cx:pt>
          <cx:pt idx="2388">Montauban</cx:pt>
          <cx:pt idx="2389">Avignon</cx:pt>
          <cx:pt idx="2390">Cergy</cx:pt>
          <cx:pt idx="2391">Cergy</cx:pt>
          <cx:pt idx="2392">Cergy</cx:pt>
          <cx:pt idx="2393">Cergy</cx:pt>
          <cx:pt idx="2394">Cergy</cx:pt>
          <cx:pt idx="2395">Avignon</cx:pt>
          <cx:pt idx="2396">Avignon</cx:pt>
          <cx:pt idx="2397">Avignon</cx:pt>
          <cx:pt idx="2398">Avignon</cx:pt>
          <cx:pt idx="2399">Avignon</cx:pt>
          <cx:pt idx="2400">Avignon</cx:pt>
          <cx:pt idx="2401">Avignon</cx:pt>
          <cx:pt idx="2402">Avignon</cx:pt>
          <cx:pt idx="2403">Avignon</cx:pt>
          <cx:pt idx="2404">Avignon</cx:pt>
          <cx:pt idx="2405">Avignon</cx:pt>
          <cx:pt idx="2406">Avignon</cx:pt>
          <cx:pt idx="2407">Avignon</cx:pt>
          <cx:pt idx="2408">Avignon</cx:pt>
          <cx:pt idx="2409">Avignon</cx:pt>
          <cx:pt idx="2410">Avignon</cx:pt>
          <cx:pt idx="2411">Avignon</cx:pt>
          <cx:pt idx="2412">Avignon</cx:pt>
          <cx:pt idx="2413">Avignon</cx:pt>
          <cx:pt idx="2414">Avignon</cx:pt>
          <cx:pt idx="2415">Avignon</cx:pt>
          <cx:pt idx="2416">Avignon</cx:pt>
          <cx:pt idx="2417">Avignon</cx:pt>
          <cx:pt idx="2418">Avignon</cx:pt>
          <cx:pt idx="2419">Avignon</cx:pt>
          <cx:pt idx="2420">Cergy</cx:pt>
          <cx:pt idx="2421">Avignon</cx:pt>
          <cx:pt idx="2422">Avignon</cx:pt>
          <cx:pt idx="2423">Cergy</cx:pt>
          <cx:pt idx="2424">Cergy</cx:pt>
          <cx:pt idx="2425">Cergy</cx:pt>
          <cx:pt idx="2426">Cergy</cx:pt>
          <cx:pt idx="2427">Cergy</cx:pt>
          <cx:pt idx="2428">Cergy</cx:pt>
          <cx:pt idx="2429">Montauban</cx:pt>
          <cx:pt idx="2430">Montauban</cx:pt>
          <cx:pt idx="2431">Montauban</cx:pt>
          <cx:pt idx="2432">Reims</cx:pt>
          <cx:pt idx="2433">Reims</cx:pt>
          <cx:pt idx="2434">Cergy</cx:pt>
          <cx:pt idx="2435">Cergy</cx:pt>
          <cx:pt idx="2436">Cergy</cx:pt>
          <cx:pt idx="2437">Cergy</cx:pt>
          <cx:pt idx="2438">Cergy</cx:pt>
          <cx:pt idx="2439">Cergy</cx:pt>
          <cx:pt idx="2440">Cergy</cx:pt>
          <cx:pt idx="2441">Cergy</cx:pt>
          <cx:pt idx="2442">Cergy</cx:pt>
          <cx:pt idx="2443">Avignon</cx:pt>
          <cx:pt idx="2444">Avignon</cx:pt>
          <cx:pt idx="2445">Reims</cx:pt>
          <cx:pt idx="2446">Cergy</cx:pt>
          <cx:pt idx="2447">Cergy</cx:pt>
          <cx:pt idx="2448">Avignon</cx:pt>
          <cx:pt idx="2449">Montauban</cx:pt>
          <cx:pt idx="2450">Montauban</cx:pt>
          <cx:pt idx="2451">Montauban</cx:pt>
          <cx:pt idx="2452">Montauban</cx:pt>
          <cx:pt idx="2453">Montauban</cx:pt>
          <cx:pt idx="2454">Montauban</cx:pt>
          <cx:pt idx="2455">Montauban</cx:pt>
          <cx:pt idx="2456">Montauban</cx:pt>
          <cx:pt idx="2457">Montauban</cx:pt>
          <cx:pt idx="2458">Montauban</cx:pt>
          <cx:pt idx="2459">Montauban</cx:pt>
          <cx:pt idx="2460">Montauban</cx:pt>
          <cx:pt idx="2461">Montauban</cx:pt>
          <cx:pt idx="2462">Montauban</cx:pt>
          <cx:pt idx="2463">Montauban</cx:pt>
          <cx:pt idx="2464">Montauban</cx:pt>
          <cx:pt idx="2465">Montauban</cx:pt>
          <cx:pt idx="2466">Montauban</cx:pt>
          <cx:pt idx="2467">Montauban</cx:pt>
          <cx:pt idx="2468">Montauban</cx:pt>
          <cx:pt idx="2469">Montauban</cx:pt>
          <cx:pt idx="2470">Montauban</cx:pt>
          <cx:pt idx="2471">Montauban</cx:pt>
          <cx:pt idx="2472">Montauban</cx:pt>
          <cx:pt idx="2473">Montauban</cx:pt>
          <cx:pt idx="2474">Montauban</cx:pt>
          <cx:pt idx="2475">Montauban</cx:pt>
          <cx:pt idx="2476">Montauban</cx:pt>
          <cx:pt idx="2477">Montauban</cx:pt>
          <cx:pt idx="2478">Montauban</cx:pt>
          <cx:pt idx="2479">Montauban</cx:pt>
          <cx:pt idx="2480">Montauban</cx:pt>
          <cx:pt idx="2481">Montauban</cx:pt>
          <cx:pt idx="2482">Montauban</cx:pt>
          <cx:pt idx="2483">Montauban</cx:pt>
          <cx:pt idx="2484">Montauban</cx:pt>
          <cx:pt idx="2485">Montauban</cx:pt>
          <cx:pt idx="2486">Cergy</cx:pt>
          <cx:pt idx="2487">Montauban</cx:pt>
          <cx:pt idx="2488">Cergy</cx:pt>
          <cx:pt idx="2489">Cergy</cx:pt>
          <cx:pt idx="2490">Reims</cx:pt>
          <cx:pt idx="2491">Reims</cx:pt>
          <cx:pt idx="2492">Reims</cx:pt>
          <cx:pt idx="2493">Reims</cx:pt>
          <cx:pt idx="2494">Reims</cx:pt>
          <cx:pt idx="2495">Reims</cx:pt>
          <cx:pt idx="2496">Reims</cx:pt>
          <cx:pt idx="2497">Reims</cx:pt>
          <cx:pt idx="2498">Reims</cx:pt>
          <cx:pt idx="2499">Reims</cx:pt>
          <cx:pt idx="2500">Reims</cx:pt>
          <cx:pt idx="2501">Reims</cx:pt>
          <cx:pt idx="2502">Reims</cx:pt>
          <cx:pt idx="2503">Reims</cx:pt>
          <cx:pt idx="2504">Reims</cx:pt>
          <cx:pt idx="2505">Reims</cx:pt>
          <cx:pt idx="2506">Reims</cx:pt>
          <cx:pt idx="2507">Reims</cx:pt>
          <cx:pt idx="2508">Reims</cx:pt>
          <cx:pt idx="2509">Reims</cx:pt>
          <cx:pt idx="2510">Reims</cx:pt>
          <cx:pt idx="2511">Reims</cx:pt>
          <cx:pt idx="2512">Reims</cx:pt>
          <cx:pt idx="2513">Reims</cx:pt>
          <cx:pt idx="2514">Reims</cx:pt>
          <cx:pt idx="2515">Reims</cx:pt>
          <cx:pt idx="2516">Reims</cx:pt>
          <cx:pt idx="2517">Reims</cx:pt>
          <cx:pt idx="2518">Reims</cx:pt>
          <cx:pt idx="2519">Reims</cx:pt>
          <cx:pt idx="2520">Reims</cx:pt>
          <cx:pt idx="2521">Reims</cx:pt>
          <cx:pt idx="2522">Reims</cx:pt>
          <cx:pt idx="2523">Montauban</cx:pt>
          <cx:pt idx="2524">Montauban</cx:pt>
          <cx:pt idx="2525">Cergy</cx:pt>
          <cx:pt idx="2526">Cergy</cx:pt>
          <cx:pt idx="2527">Cergy</cx:pt>
          <cx:pt idx="2528">Reims</cx:pt>
          <cx:pt idx="2529">Avignon</cx:pt>
          <cx:pt idx="2530">Avignon</cx:pt>
          <cx:pt idx="2531">Avignon</cx:pt>
          <cx:pt idx="2532">Avignon</cx:pt>
          <cx:pt idx="2533">Avignon</cx:pt>
          <cx:pt idx="2534">Avignon</cx:pt>
          <cx:pt idx="2535">Avignon</cx:pt>
          <cx:pt idx="2536">Avignon</cx:pt>
          <cx:pt idx="2537">Avignon</cx:pt>
          <cx:pt idx="2538">Avignon</cx:pt>
          <cx:pt idx="2539">Avignon</cx:pt>
          <cx:pt idx="2540">Avignon</cx:pt>
          <cx:pt idx="2541">Avignon</cx:pt>
          <cx:pt idx="2542">Avignon</cx:pt>
          <cx:pt idx="2543">Avignon</cx:pt>
          <cx:pt idx="2544">Avignon</cx:pt>
          <cx:pt idx="2545">Avignon</cx:pt>
          <cx:pt idx="2546">Avignon</cx:pt>
          <cx:pt idx="2547">Avignon</cx:pt>
          <cx:pt idx="2548">Avignon</cx:pt>
          <cx:pt idx="2549">Avignon</cx:pt>
          <cx:pt idx="2550">Avignon</cx:pt>
          <cx:pt idx="2551">Avignon</cx:pt>
          <cx:pt idx="2552">Montauban</cx:pt>
          <cx:pt idx="2553">Montauban</cx:pt>
          <cx:pt idx="2554">Montauban</cx:pt>
          <cx:pt idx="2555">Montauban</cx:pt>
          <cx:pt idx="2556">Montauban</cx:pt>
          <cx:pt idx="2557">Montauban</cx:pt>
          <cx:pt idx="2558">Montauban</cx:pt>
          <cx:pt idx="2559">Montauban</cx:pt>
          <cx:pt idx="2560">Montauban</cx:pt>
          <cx:pt idx="2561">Montauban</cx:pt>
          <cx:pt idx="2562">Montauban</cx:pt>
          <cx:pt idx="2563">Montauban</cx:pt>
          <cx:pt idx="2564">Montauban</cx:pt>
          <cx:pt idx="2565">Montauban</cx:pt>
          <cx:pt idx="2566">Montauban</cx:pt>
          <cx:pt idx="2567">Montauban</cx:pt>
          <cx:pt idx="2568">Montauban</cx:pt>
          <cx:pt idx="2569">Montauban</cx:pt>
          <cx:pt idx="2570">Montauban</cx:pt>
          <cx:pt idx="2571">Montauban</cx:pt>
          <cx:pt idx="2572">Montauban</cx:pt>
          <cx:pt idx="2573">Montauban</cx:pt>
          <cx:pt idx="2574">Montauban</cx:pt>
          <cx:pt idx="2575">Montauban</cx:pt>
          <cx:pt idx="2576">Montauban</cx:pt>
          <cx:pt idx="2577">Montauban</cx:pt>
          <cx:pt idx="2578">Montauban</cx:pt>
          <cx:pt idx="2579">Montauban</cx:pt>
          <cx:pt idx="2580">Montauban</cx:pt>
          <cx:pt idx="2581">Montauban</cx:pt>
          <cx:pt idx="2582">Montauban</cx:pt>
          <cx:pt idx="2583">Montauban</cx:pt>
          <cx:pt idx="2584">Avignon</cx:pt>
          <cx:pt idx="2585">Reims</cx:pt>
          <cx:pt idx="2586">Reims</cx:pt>
          <cx:pt idx="2587">Reims</cx:pt>
          <cx:pt idx="2588">Reims</cx:pt>
          <cx:pt idx="2589">Cergy</cx:pt>
          <cx:pt idx="2590">Cergy</cx:pt>
          <cx:pt idx="2591">Avignon</cx:pt>
          <cx:pt idx="2592">Avignon</cx:pt>
          <cx:pt idx="2593">Avignon</cx:pt>
          <cx:pt idx="2594">Avignon</cx:pt>
          <cx:pt idx="2595">Cergy</cx:pt>
          <cx:pt idx="2596">Montauban</cx:pt>
          <cx:pt idx="2597">Montauban</cx:pt>
          <cx:pt idx="2598">Montauban</cx:pt>
          <cx:pt idx="2599">Montauban</cx:pt>
          <cx:pt idx="2600">Montauban</cx:pt>
          <cx:pt idx="2601">Montauban</cx:pt>
          <cx:pt idx="2602">Montauban</cx:pt>
          <cx:pt idx="2603">Montauban</cx:pt>
          <cx:pt idx="2604">Montauban</cx:pt>
          <cx:pt idx="2605">Montauban</cx:pt>
          <cx:pt idx="2606">Montauban</cx:pt>
          <cx:pt idx="2607">Montauban</cx:pt>
          <cx:pt idx="2608">Montauban</cx:pt>
          <cx:pt idx="2609">Montauban</cx:pt>
          <cx:pt idx="2610">Montauban</cx:pt>
          <cx:pt idx="2611">Avignon</cx:pt>
          <cx:pt idx="2612">Reims</cx:pt>
          <cx:pt idx="2613">Reims</cx:pt>
          <cx:pt idx="2614">Reims</cx:pt>
          <cx:pt idx="2615">Reims</cx:pt>
          <cx:pt idx="2616">Reims</cx:pt>
          <cx:pt idx="2617">Montauban</cx:pt>
          <cx:pt idx="2618">Montauban</cx:pt>
          <cx:pt idx="2619">Cergy</cx:pt>
          <cx:pt idx="2620">Montauban</cx:pt>
          <cx:pt idx="2621">Montauban</cx:pt>
          <cx:pt idx="2622">Montauban</cx:pt>
          <cx:pt idx="2623">Montauban</cx:pt>
          <cx:pt idx="2624">Montauban</cx:pt>
          <cx:pt idx="2625">Montauban</cx:pt>
          <cx:pt idx="2626">Montauban</cx:pt>
          <cx:pt idx="2627">Reims</cx:pt>
          <cx:pt idx="2628">Cergy</cx:pt>
          <cx:pt idx="2629">Cergy</cx:pt>
          <cx:pt idx="2630">Cergy</cx:pt>
          <cx:pt idx="2631">Cergy</cx:pt>
          <cx:pt idx="2632">Cergy</cx:pt>
          <cx:pt idx="2633">Cergy</cx:pt>
          <cx:pt idx="2634">Cergy</cx:pt>
          <cx:pt idx="2635">Cergy</cx:pt>
          <cx:pt idx="2636">Cergy</cx:pt>
          <cx:pt idx="2637">Cergy</cx:pt>
          <cx:pt idx="2638">Cergy</cx:pt>
          <cx:pt idx="2639">Cergy</cx:pt>
          <cx:pt idx="2640">Cergy</cx:pt>
          <cx:pt idx="2641">Cergy</cx:pt>
          <cx:pt idx="2642">Cergy</cx:pt>
          <cx:pt idx="2643">Cergy</cx:pt>
          <cx:pt idx="2644">Cergy</cx:pt>
          <cx:pt idx="2645">Cergy</cx:pt>
          <cx:pt idx="2646">Cergy</cx:pt>
          <cx:pt idx="2647">Cergy</cx:pt>
          <cx:pt idx="2648">Cergy</cx:pt>
          <cx:pt idx="2649">Cergy</cx:pt>
          <cx:pt idx="2650">Cergy</cx:pt>
          <cx:pt idx="2651">Cergy</cx:pt>
          <cx:pt idx="2652">Cergy</cx:pt>
          <cx:pt idx="2653">Cergy</cx:pt>
          <cx:pt idx="2654">Cergy</cx:pt>
          <cx:pt idx="2655">Cergy</cx:pt>
          <cx:pt idx="2656">Cergy</cx:pt>
          <cx:pt idx="2657">Avignon</cx:pt>
          <cx:pt idx="2658">Avignon</cx:pt>
          <cx:pt idx="2659">Avignon</cx:pt>
          <cx:pt idx="2660">Avignon</cx:pt>
          <cx:pt idx="2661">Avignon</cx:pt>
          <cx:pt idx="2662">Avignon</cx:pt>
          <cx:pt idx="2663">Avignon</cx:pt>
          <cx:pt idx="2664">Avignon</cx:pt>
          <cx:pt idx="2665">Avignon</cx:pt>
          <cx:pt idx="2666">Avignon</cx:pt>
          <cx:pt idx="2667">Avignon</cx:pt>
          <cx:pt idx="2668">Avignon</cx:pt>
          <cx:pt idx="2669">Avignon</cx:pt>
          <cx:pt idx="2670">Avignon</cx:pt>
          <cx:pt idx="2671">Avignon</cx:pt>
          <cx:pt idx="2672">Avignon</cx:pt>
          <cx:pt idx="2673">Avignon</cx:pt>
          <cx:pt idx="2674">Avignon</cx:pt>
          <cx:pt idx="2675">Avignon</cx:pt>
          <cx:pt idx="2676">Avignon</cx:pt>
          <cx:pt idx="2677">Avignon</cx:pt>
          <cx:pt idx="2678">Avignon</cx:pt>
          <cx:pt idx="2679">Avignon</cx:pt>
          <cx:pt idx="2680">Avignon</cx:pt>
          <cx:pt idx="2681">Avignon</cx:pt>
          <cx:pt idx="2682">Avignon</cx:pt>
          <cx:pt idx="2683">Avignon</cx:pt>
          <cx:pt idx="2684">Cergy</cx:pt>
          <cx:pt idx="2685">Cergy</cx:pt>
          <cx:pt idx="2686">Cergy</cx:pt>
          <cx:pt idx="2687">Cergy</cx:pt>
          <cx:pt idx="2688">Clermont-Ferrand</cx:pt>
          <cx:pt idx="2689">Clermont-Ferrand</cx:pt>
          <cx:pt idx="2690">Reims</cx:pt>
          <cx:pt idx="2691">Reims</cx:pt>
          <cx:pt idx="2692">Reims</cx:pt>
          <cx:pt idx="2693">Reims</cx:pt>
          <cx:pt idx="2694">Reims</cx:pt>
          <cx:pt idx="2695">Reims</cx:pt>
          <cx:pt idx="2696">Reims</cx:pt>
          <cx:pt idx="2697">Reims</cx:pt>
          <cx:pt idx="2698">Reims</cx:pt>
          <cx:pt idx="2699">Montauban</cx:pt>
          <cx:pt idx="2700">Montauban</cx:pt>
          <cx:pt idx="2701">Montauban</cx:pt>
          <cx:pt idx="2702">Montauban</cx:pt>
          <cx:pt idx="2703">Montauban</cx:pt>
          <cx:pt idx="2704">Montauban</cx:pt>
          <cx:pt idx="2705">Montauban</cx:pt>
          <cx:pt idx="2706">Montauban</cx:pt>
          <cx:pt idx="2707">Cergy</cx:pt>
          <cx:pt idx="2708">Cergy</cx:pt>
          <cx:pt idx="2709">Montauban</cx:pt>
          <cx:pt idx="2710">Montauban</cx:pt>
          <cx:pt idx="2711">Montauban</cx:pt>
          <cx:pt idx="2712">Montauban</cx:pt>
          <cx:pt idx="2713">Montauban</cx:pt>
          <cx:pt idx="2714">Montauban</cx:pt>
          <cx:pt idx="2715">Montauban</cx:pt>
          <cx:pt idx="2716">Montauban</cx:pt>
          <cx:pt idx="2717">Montauban</cx:pt>
          <cx:pt idx="2718">Montauban</cx:pt>
          <cx:pt idx="2719">Montauban</cx:pt>
          <cx:pt idx="2720">Cergy</cx:pt>
          <cx:pt idx="2721">Cergy</cx:pt>
          <cx:pt idx="2722">Cergy</cx:pt>
          <cx:pt idx="2723">Montauban</cx:pt>
          <cx:pt idx="2724">Montauban</cx:pt>
          <cx:pt idx="2725">Avignon</cx:pt>
          <cx:pt idx="2726">Cergy</cx:pt>
          <cx:pt idx="2727">Cergy</cx:pt>
          <cx:pt idx="2728">Cergy</cx:pt>
          <cx:pt idx="2729">Cergy</cx:pt>
          <cx:pt idx="2730">Cergy</cx:pt>
          <cx:pt idx="2731">Cergy</cx:pt>
          <cx:pt idx="2732">Avignon</cx:pt>
          <cx:pt idx="2733">Avignon</cx:pt>
          <cx:pt idx="2734">Avignon</cx:pt>
          <cx:pt idx="2735">Avignon</cx:pt>
          <cx:pt idx="2736">Avignon</cx:pt>
          <cx:pt idx="2737">Cergy</cx:pt>
          <cx:pt idx="2738">Cergy</cx:pt>
          <cx:pt idx="2739">Cergy</cx:pt>
          <cx:pt idx="2740">Cergy</cx:pt>
          <cx:pt idx="2741">Montauban</cx:pt>
          <cx:pt idx="2742">Reims</cx:pt>
          <cx:pt idx="2743">Reims</cx:pt>
          <cx:pt idx="2744">Reims</cx:pt>
          <cx:pt idx="2745">Reims</cx:pt>
          <cx:pt idx="2746">Clermont-Ferrand</cx:pt>
          <cx:pt idx="2747">Clermont-Ferrand</cx:pt>
          <cx:pt idx="2748">Avignon</cx:pt>
          <cx:pt idx="2749">Avignon</cx:pt>
          <cx:pt idx="2750">Avignon</cx:pt>
          <cx:pt idx="2751">Avignon</cx:pt>
          <cx:pt idx="2752">Avignon</cx:pt>
          <cx:pt idx="2753">Avignon</cx:pt>
          <cx:pt idx="2754">Avignon</cx:pt>
          <cx:pt idx="2755">Avignon</cx:pt>
          <cx:pt idx="2756">Cergy</cx:pt>
          <cx:pt idx="2757">Cergy</cx:pt>
          <cx:pt idx="2758">Cergy</cx:pt>
          <cx:pt idx="2759">Reims</cx:pt>
          <cx:pt idx="2760">Cergy</cx:pt>
          <cx:pt idx="2761">Reims</cx:pt>
          <cx:pt idx="2762">Reims</cx:pt>
          <cx:pt idx="2763">Reims</cx:pt>
          <cx:pt idx="2764">Reims</cx:pt>
          <cx:pt idx="2765">Reims</cx:pt>
          <cx:pt idx="2766">Reims</cx:pt>
          <cx:pt idx="2767">Reims</cx:pt>
          <cx:pt idx="2768">Reims</cx:pt>
          <cx:pt idx="2769">Reims</cx:pt>
          <cx:pt idx="2770">Reims</cx:pt>
          <cx:pt idx="2771">Reims</cx:pt>
          <cx:pt idx="2772">Reims</cx:pt>
          <cx:pt idx="2773">Reims</cx:pt>
          <cx:pt idx="2774">Reims</cx:pt>
          <cx:pt idx="2775">Reims</cx:pt>
          <cx:pt idx="2776">Reims</cx:pt>
          <cx:pt idx="2777">Reims</cx:pt>
          <cx:pt idx="2778">Reims</cx:pt>
          <cx:pt idx="2779">Avignon</cx:pt>
          <cx:pt idx="2780">Avignon</cx:pt>
          <cx:pt idx="2781">Montauban</cx:pt>
          <cx:pt idx="2782">Avignon</cx:pt>
          <cx:pt idx="2783">Montauban</cx:pt>
          <cx:pt idx="2784">Montauban</cx:pt>
          <cx:pt idx="2785">Montauban</cx:pt>
          <cx:pt idx="2786">Cergy</cx:pt>
          <cx:pt idx="2787">Avignon</cx:pt>
          <cx:pt idx="2788">Avignon</cx:pt>
          <cx:pt idx="2789">Avignon</cx:pt>
          <cx:pt idx="2790">Avignon</cx:pt>
          <cx:pt idx="2791">Avignon</cx:pt>
          <cx:pt idx="2792">Avignon</cx:pt>
          <cx:pt idx="2793">Avignon</cx:pt>
          <cx:pt idx="2794">Avignon</cx:pt>
          <cx:pt idx="2795">Avignon</cx:pt>
          <cx:pt idx="2796">Avignon</cx:pt>
          <cx:pt idx="2797">Avignon</cx:pt>
          <cx:pt idx="2798">Avignon</cx:pt>
          <cx:pt idx="2799">Avignon</cx:pt>
          <cx:pt idx="2800">Avignon</cx:pt>
          <cx:pt idx="2801">Avignon</cx:pt>
          <cx:pt idx="2802">Avignon</cx:pt>
          <cx:pt idx="2803">Avignon</cx:pt>
          <cx:pt idx="2804">Avignon</cx:pt>
          <cx:pt idx="2805">Avignon</cx:pt>
          <cx:pt idx="2806">Avignon</cx:pt>
          <cx:pt idx="2807">Avignon</cx:pt>
          <cx:pt idx="2808">Avignon</cx:pt>
          <cx:pt idx="2809">Avignon</cx:pt>
          <cx:pt idx="2810">Avignon</cx:pt>
          <cx:pt idx="2811">Avignon</cx:pt>
          <cx:pt idx="2812">Cergy</cx:pt>
          <cx:pt idx="2813">Avignon</cx:pt>
          <cx:pt idx="2814">Reims</cx:pt>
          <cx:pt idx="2815">Avignon</cx:pt>
          <cx:pt idx="2816">Avignon</cx:pt>
          <cx:pt idx="2817">Avignon</cx:pt>
          <cx:pt idx="2818">Avignon</cx:pt>
          <cx:pt idx="2819">Cergy</cx:pt>
          <cx:pt idx="2820">Cergy</cx:pt>
          <cx:pt idx="2821">Cergy</cx:pt>
          <cx:pt idx="2822">Cergy</cx:pt>
          <cx:pt idx="2823">Cergy</cx:pt>
          <cx:pt idx="2824">Avignon</cx:pt>
          <cx:pt idx="2825">Avignon</cx:pt>
          <cx:pt idx="2826">Avignon</cx:pt>
          <cx:pt idx="2827">Avignon</cx:pt>
          <cx:pt idx="2828">Avignon</cx:pt>
          <cx:pt idx="2829">Avignon</cx:pt>
          <cx:pt idx="2830">Avignon</cx:pt>
          <cx:pt idx="2831">Reims</cx:pt>
          <cx:pt idx="2832">Cergy</cx:pt>
          <cx:pt idx="2833">Avignon</cx:pt>
          <cx:pt idx="2834">Avignon</cx:pt>
          <cx:pt idx="2835">Avignon</cx:pt>
          <cx:pt idx="2836">Avignon</cx:pt>
          <cx:pt idx="2837">Avignon</cx:pt>
          <cx:pt idx="2838">Montauban</cx:pt>
          <cx:pt idx="2839">Cergy</cx:pt>
          <cx:pt idx="2840">Reims</cx:pt>
          <cx:pt idx="2841">Montauban</cx:pt>
          <cx:pt idx="2842">Montauban</cx:pt>
          <cx:pt idx="2843">Montauban</cx:pt>
          <cx:pt idx="2844">Montauban</cx:pt>
          <cx:pt idx="2845">Montauban</cx:pt>
          <cx:pt idx="2846">Montauban</cx:pt>
          <cx:pt idx="2847">Montauban</cx:pt>
          <cx:pt idx="2848">Montauban</cx:pt>
          <cx:pt idx="2849">Montauban</cx:pt>
          <cx:pt idx="2850">Montauban</cx:pt>
          <cx:pt idx="2851">Montauban</cx:pt>
          <cx:pt idx="2852">Montauban</cx:pt>
          <cx:pt idx="2853">Montauban</cx:pt>
          <cx:pt idx="2854">Montauban</cx:pt>
          <cx:pt idx="2855">Montauban</cx:pt>
          <cx:pt idx="2856">Montauban</cx:pt>
          <cx:pt idx="2857">Montauban</cx:pt>
          <cx:pt idx="2858">Montauban</cx:pt>
          <cx:pt idx="2859">Montauban</cx:pt>
          <cx:pt idx="2860">Montauban</cx:pt>
          <cx:pt idx="2861">Montauban</cx:pt>
          <cx:pt idx="2862">Montauban</cx:pt>
          <cx:pt idx="2863">Montauban</cx:pt>
          <cx:pt idx="2864">Montauban</cx:pt>
          <cx:pt idx="2865">Montauban</cx:pt>
          <cx:pt idx="2866">Montauban</cx:pt>
          <cx:pt idx="2867">Montauban</cx:pt>
          <cx:pt idx="2868">Montauban</cx:pt>
          <cx:pt idx="2869">Montauban</cx:pt>
          <cx:pt idx="2870">Montauban</cx:pt>
          <cx:pt idx="2871">Montauban</cx:pt>
          <cx:pt idx="2872">Montauban</cx:pt>
          <cx:pt idx="2873">Montauban</cx:pt>
          <cx:pt idx="2874">Montauban</cx:pt>
          <cx:pt idx="2875">Montauban</cx:pt>
          <cx:pt idx="2876">Montauban</cx:pt>
          <cx:pt idx="2877">Montauban</cx:pt>
          <cx:pt idx="2878">Montauban</cx:pt>
          <cx:pt idx="2879">Montauban</cx:pt>
          <cx:pt idx="2880">Montauban</cx:pt>
          <cx:pt idx="2881">Montauban</cx:pt>
          <cx:pt idx="2882">Montauban</cx:pt>
          <cx:pt idx="2883">Avignon</cx:pt>
          <cx:pt idx="2884">Cergy</cx:pt>
          <cx:pt idx="2885">Cergy</cx:pt>
          <cx:pt idx="2886">Cergy</cx:pt>
          <cx:pt idx="2887">Cergy</cx:pt>
          <cx:pt idx="2888">Avignon</cx:pt>
          <cx:pt idx="2889">Avignon</cx:pt>
          <cx:pt idx="2890">Avignon</cx:pt>
          <cx:pt idx="2891">Avignon</cx:pt>
          <cx:pt idx="2892">Avignon</cx:pt>
          <cx:pt idx="2893">Avignon</cx:pt>
          <cx:pt idx="2894">Avignon</cx:pt>
          <cx:pt idx="2895">Avignon</cx:pt>
          <cx:pt idx="2896">Avignon</cx:pt>
          <cx:pt idx="2897">Avignon</cx:pt>
          <cx:pt idx="2898">Avignon</cx:pt>
          <cx:pt idx="2899">Avignon</cx:pt>
          <cx:pt idx="2900">Avignon</cx:pt>
          <cx:pt idx="2901">Avignon</cx:pt>
          <cx:pt idx="2902">Avignon</cx:pt>
          <cx:pt idx="2903">Avignon</cx:pt>
          <cx:pt idx="2904">Avignon</cx:pt>
          <cx:pt idx="2905">Avignon</cx:pt>
          <cx:pt idx="2906">Avignon</cx:pt>
          <cx:pt idx="2907">Avignon</cx:pt>
          <cx:pt idx="2908">Avignon</cx:pt>
          <cx:pt idx="2909">Avignon</cx:pt>
          <cx:pt idx="2910">Avignon</cx:pt>
          <cx:pt idx="2911">Avignon</cx:pt>
          <cx:pt idx="2912">Avignon</cx:pt>
          <cx:pt idx="2913">Avignon</cx:pt>
          <cx:pt idx="2914">Avignon</cx:pt>
          <cx:pt idx="2915">Avignon</cx:pt>
          <cx:pt idx="2916">Avignon</cx:pt>
          <cx:pt idx="2917">Montauban</cx:pt>
          <cx:pt idx="2918">Montauban</cx:pt>
          <cx:pt idx="2919">Montauban</cx:pt>
          <cx:pt idx="2920">Cergy</cx:pt>
          <cx:pt idx="2921">Cergy</cx:pt>
          <cx:pt idx="2922">Cergy</cx:pt>
          <cx:pt idx="2923">Montauban</cx:pt>
          <cx:pt idx="2924">Montauban</cx:pt>
          <cx:pt idx="2925">Montauban</cx:pt>
          <cx:pt idx="2926">Montauban</cx:pt>
          <cx:pt idx="2927">Montauban</cx:pt>
          <cx:pt idx="2928">Montauban</cx:pt>
          <cx:pt idx="2929">Montauban</cx:pt>
          <cx:pt idx="2930">Montauban</cx:pt>
          <cx:pt idx="2931">Montauban</cx:pt>
          <cx:pt idx="2932">Montauban</cx:pt>
          <cx:pt idx="2933">Montauban</cx:pt>
          <cx:pt idx="2934">Montauban</cx:pt>
          <cx:pt idx="2935">Montauban</cx:pt>
          <cx:pt idx="2936">Montauban</cx:pt>
          <cx:pt idx="2937">Montauban</cx:pt>
          <cx:pt idx="2938">Montauban</cx:pt>
          <cx:pt idx="2939">Montauban</cx:pt>
          <cx:pt idx="2940">Montauban</cx:pt>
          <cx:pt idx="2941">Montauban</cx:pt>
          <cx:pt idx="2942">Montauban</cx:pt>
          <cx:pt idx="2943">Montauban</cx:pt>
          <cx:pt idx="2944">Montauban</cx:pt>
          <cx:pt idx="2945">Montauban</cx:pt>
          <cx:pt idx="2946">Montauban</cx:pt>
          <cx:pt idx="2947">Montauban</cx:pt>
          <cx:pt idx="2948">Montauban</cx:pt>
          <cx:pt idx="2949">Montauban</cx:pt>
          <cx:pt idx="2950">Montauban</cx:pt>
          <cx:pt idx="2951">Montauban</cx:pt>
          <cx:pt idx="2952">Montauban</cx:pt>
          <cx:pt idx="2953">Montauban</cx:pt>
          <cx:pt idx="2954">Montauban</cx:pt>
          <cx:pt idx="2955">Montauban</cx:pt>
          <cx:pt idx="2956">Montauban</cx:pt>
          <cx:pt idx="2957">Montauban</cx:pt>
          <cx:pt idx="2958">Montauban</cx:pt>
          <cx:pt idx="2959">Montauban</cx:pt>
          <cx:pt idx="2960">Montauban</cx:pt>
          <cx:pt idx="2961">Montauban</cx:pt>
          <cx:pt idx="2962">Montauban</cx:pt>
          <cx:pt idx="2963">Montauban</cx:pt>
          <cx:pt idx="2964">Montauban</cx:pt>
          <cx:pt idx="2965">Montauban</cx:pt>
          <cx:pt idx="2966">Montauban</cx:pt>
          <cx:pt idx="2967">Montauban</cx:pt>
          <cx:pt idx="2968">Montauban</cx:pt>
          <cx:pt idx="2969">Montauban</cx:pt>
          <cx:pt idx="2970">Montauban</cx:pt>
          <cx:pt idx="2971">Montauban</cx:pt>
          <cx:pt idx="2972">Montauban</cx:pt>
          <cx:pt idx="2973">Avignon</cx:pt>
          <cx:pt idx="2974">Avignon</cx:pt>
          <cx:pt idx="2975">Cergy</cx:pt>
          <cx:pt idx="2976">Cergy</cx:pt>
          <cx:pt idx="2977">Cergy</cx:pt>
          <cx:pt idx="2978">Cergy</cx:pt>
          <cx:pt idx="2979">Cergy</cx:pt>
          <cx:pt idx="2980">Cergy</cx:pt>
          <cx:pt idx="2981">Cergy</cx:pt>
          <cx:pt idx="2982">Cergy</cx:pt>
          <cx:pt idx="2983">Cergy</cx:pt>
          <cx:pt idx="2984">Cergy</cx:pt>
          <cx:pt idx="2985">Cergy</cx:pt>
          <cx:pt idx="2986">Cergy</cx:pt>
          <cx:pt idx="2987">Cergy</cx:pt>
          <cx:pt idx="2988">Cergy</cx:pt>
          <cx:pt idx="2989">Cergy</cx:pt>
          <cx:pt idx="2990">Cergy</cx:pt>
          <cx:pt idx="2991">Cergy</cx:pt>
          <cx:pt idx="2992">Cergy</cx:pt>
          <cx:pt idx="2993">Cergy</cx:pt>
          <cx:pt idx="2994">Cergy</cx:pt>
          <cx:pt idx="2995">Cergy</cx:pt>
          <cx:pt idx="2996">Cergy</cx:pt>
          <cx:pt idx="2997">Cergy</cx:pt>
          <cx:pt idx="2998">Cergy</cx:pt>
          <cx:pt idx="2999">Cergy</cx:pt>
          <cx:pt idx="3000">Cergy</cx:pt>
          <cx:pt idx="3001">Cergy</cx:pt>
          <cx:pt idx="3002">Cergy</cx:pt>
          <cx:pt idx="3003">Cergy</cx:pt>
          <cx:pt idx="3004">Cergy</cx:pt>
          <cx:pt idx="3005">Cergy</cx:pt>
          <cx:pt idx="3006">Cergy</cx:pt>
          <cx:pt idx="3007">Cergy</cx:pt>
          <cx:pt idx="3008">Avignon</cx:pt>
          <cx:pt idx="3009">Avignon</cx:pt>
          <cx:pt idx="3010">Avignon</cx:pt>
          <cx:pt idx="3011">Montauban</cx:pt>
          <cx:pt idx="3012">Montauban</cx:pt>
          <cx:pt idx="3013">Montauban</cx:pt>
          <cx:pt idx="3014">Montauban</cx:pt>
          <cx:pt idx="3015">Montauban</cx:pt>
          <cx:pt idx="3016">Montauban</cx:pt>
          <cx:pt idx="3017">Montauban</cx:pt>
          <cx:pt idx="3018">Montauban</cx:pt>
          <cx:pt idx="3019">Montauban</cx:pt>
          <cx:pt idx="3020">Montauban</cx:pt>
          <cx:pt idx="3021">Montauban</cx:pt>
          <cx:pt idx="3022">Montauban</cx:pt>
          <cx:pt idx="3023">Montauban</cx:pt>
          <cx:pt idx="3024">Montauban</cx:pt>
          <cx:pt idx="3025">Montauban</cx:pt>
          <cx:pt idx="3026">Montauban</cx:pt>
          <cx:pt idx="3027">Montauban</cx:pt>
          <cx:pt idx="3028">Montauban</cx:pt>
          <cx:pt idx="3029">Montauban</cx:pt>
          <cx:pt idx="3030">Montauban</cx:pt>
          <cx:pt idx="3031">Montauban</cx:pt>
          <cx:pt idx="3032">Montauban</cx:pt>
          <cx:pt idx="3033">Montauban</cx:pt>
          <cx:pt idx="3034">Montauban</cx:pt>
          <cx:pt idx="3035">Montauban</cx:pt>
          <cx:pt idx="3036">Montauban</cx:pt>
          <cx:pt idx="3037">Avignon</cx:pt>
          <cx:pt idx="3038">Avignon</cx:pt>
          <cx:pt idx="3039">Montauban</cx:pt>
          <cx:pt idx="3040">Cergy</cx:pt>
          <cx:pt idx="3041">Cergy</cx:pt>
          <cx:pt idx="3042">Cergy</cx:pt>
          <cx:pt idx="3043">Cergy</cx:pt>
          <cx:pt idx="3044">Cergy</cx:pt>
          <cx:pt idx="3045">Cergy</cx:pt>
          <cx:pt idx="3046">Cergy</cx:pt>
          <cx:pt idx="3047">Cergy</cx:pt>
          <cx:pt idx="3048">Cergy</cx:pt>
          <cx:pt idx="3049">Cergy</cx:pt>
          <cx:pt idx="3050">Cergy</cx:pt>
          <cx:pt idx="3051">Cergy</cx:pt>
          <cx:pt idx="3052">Cergy</cx:pt>
          <cx:pt idx="3053">Montauban</cx:pt>
          <cx:pt idx="3054">Montauban</cx:pt>
          <cx:pt idx="3055">Montauban</cx:pt>
          <cx:pt idx="3056">Montauban</cx:pt>
          <cx:pt idx="3057">Montauban</cx:pt>
          <cx:pt idx="3058">Montauban</cx:pt>
          <cx:pt idx="3059">Montauban</cx:pt>
          <cx:pt idx="3060">Montauban</cx:pt>
          <cx:pt idx="3061">Montauban</cx:pt>
          <cx:pt idx="3062">Montauban</cx:pt>
          <cx:pt idx="3063">Montauban</cx:pt>
          <cx:pt idx="3064">Montauban</cx:pt>
          <cx:pt idx="3065">Montauban</cx:pt>
          <cx:pt idx="3066">Montauban</cx:pt>
          <cx:pt idx="3067">Montauban</cx:pt>
          <cx:pt idx="3068">Montauban</cx:pt>
          <cx:pt idx="3069">Montauban</cx:pt>
          <cx:pt idx="3070">Montauban</cx:pt>
          <cx:pt idx="3071">Montauban</cx:pt>
          <cx:pt idx="3072">Montauban</cx:pt>
          <cx:pt idx="3073">Montauban</cx:pt>
          <cx:pt idx="3074">Montauban</cx:pt>
          <cx:pt idx="3075">Montauban</cx:pt>
          <cx:pt idx="3076">Montauban</cx:pt>
          <cx:pt idx="3077">Montauban</cx:pt>
          <cx:pt idx="3078">Montauban</cx:pt>
          <cx:pt idx="3079">Montauban</cx:pt>
          <cx:pt idx="3080">Montauban</cx:pt>
          <cx:pt idx="3081">Montauban</cx:pt>
          <cx:pt idx="3082">Montauban</cx:pt>
          <cx:pt idx="3083">Montauban</cx:pt>
          <cx:pt idx="3084">Montauban</cx:pt>
          <cx:pt idx="3085">Montauban</cx:pt>
          <cx:pt idx="3086">Montauban</cx:pt>
          <cx:pt idx="3087">Montauban</cx:pt>
          <cx:pt idx="3088">Montauban</cx:pt>
          <cx:pt idx="3089">Montauban</cx:pt>
          <cx:pt idx="3090">Montauban</cx:pt>
          <cx:pt idx="3091">Montauban</cx:pt>
          <cx:pt idx="3092">Montauban</cx:pt>
          <cx:pt idx="3093">Montauban</cx:pt>
          <cx:pt idx="3094">Montauban</cx:pt>
          <cx:pt idx="3095">Montauban</cx:pt>
          <cx:pt idx="3096">Montauban</cx:pt>
          <cx:pt idx="3097">Montauban</cx:pt>
          <cx:pt idx="3098">Montauban</cx:pt>
          <cx:pt idx="3099">Montauban</cx:pt>
          <cx:pt idx="3100">Montauban</cx:pt>
          <cx:pt idx="3101">Montauban</cx:pt>
          <cx:pt idx="3102">Montauban</cx:pt>
          <cx:pt idx="3103">Montauban</cx:pt>
          <cx:pt idx="3104">Montauban</cx:pt>
          <cx:pt idx="3105">Montauban</cx:pt>
          <cx:pt idx="3106">Montauban</cx:pt>
          <cx:pt idx="3107">Montauban</cx:pt>
          <cx:pt idx="3108">Montauban</cx:pt>
          <cx:pt idx="3109">Montauban</cx:pt>
          <cx:pt idx="3110">Montauban</cx:pt>
          <cx:pt idx="3111">Montauban</cx:pt>
          <cx:pt idx="3112">Montauban</cx:pt>
          <cx:pt idx="3113">Montauban</cx:pt>
          <cx:pt idx="3114">Montauban</cx:pt>
          <cx:pt idx="3115">Montauban</cx:pt>
          <cx:pt idx="3116">Montauban</cx:pt>
          <cx:pt idx="3117">Montauban</cx:pt>
          <cx:pt idx="3118">Montauban</cx:pt>
          <cx:pt idx="3119">Montauban</cx:pt>
          <cx:pt idx="3120">Montauban</cx:pt>
          <cx:pt idx="3121">Montauban</cx:pt>
          <cx:pt idx="3122">Montauban</cx:pt>
          <cx:pt idx="3123">Cergy</cx:pt>
          <cx:pt idx="3124">Cergy</cx:pt>
          <cx:pt idx="3125">Cergy</cx:pt>
          <cx:pt idx="3126">Cergy</cx:pt>
          <cx:pt idx="3127">Cergy</cx:pt>
          <cx:pt idx="3128">Cergy</cx:pt>
          <cx:pt idx="3129">Cergy</cx:pt>
          <cx:pt idx="3130">Cergy</cx:pt>
          <cx:pt idx="3131">Cergy</cx:pt>
          <cx:pt idx="3132">Cergy</cx:pt>
          <cx:pt idx="3133">Cergy</cx:pt>
          <cx:pt idx="3134">Cergy</cx:pt>
          <cx:pt idx="3135">Cergy</cx:pt>
          <cx:pt idx="3136">Cergy</cx:pt>
          <cx:pt idx="3137">Cergy</cx:pt>
          <cx:pt idx="3138">Cergy</cx:pt>
          <cx:pt idx="3139">Cergy</cx:pt>
          <cx:pt idx="3140">Cergy</cx:pt>
          <cx:pt idx="3141">Cergy</cx:pt>
          <cx:pt idx="3142">Cergy</cx:pt>
          <cx:pt idx="3143">Cergy</cx:pt>
          <cx:pt idx="3144">Cergy</cx:pt>
          <cx:pt idx="3145">Cergy</cx:pt>
          <cx:pt idx="3146">Cergy</cx:pt>
          <cx:pt idx="3147">Cergy</cx:pt>
          <cx:pt idx="3148">Cergy</cx:pt>
          <cx:pt idx="3149">Cergy</cx:pt>
          <cx:pt idx="3150">Avignon</cx:pt>
          <cx:pt idx="3151">Avignon</cx:pt>
          <cx:pt idx="3152">Avignon</cx:pt>
          <cx:pt idx="3153">Avignon</cx:pt>
          <cx:pt idx="3154">Avignon</cx:pt>
          <cx:pt idx="3155">Montauban</cx:pt>
          <cx:pt idx="3156">Montauban</cx:pt>
          <cx:pt idx="3157">Cergy</cx:pt>
          <cx:pt idx="3158">Cergy</cx:pt>
          <cx:pt idx="3159">Cergy</cx:pt>
          <cx:pt idx="3160">Cergy</cx:pt>
          <cx:pt idx="3161">Cergy</cx:pt>
          <cx:pt idx="3162">Cergy</cx:pt>
          <cx:pt idx="3163">Cergy</cx:pt>
          <cx:pt idx="3164">Cergy</cx:pt>
          <cx:pt idx="3165">Cergy</cx:pt>
          <cx:pt idx="3166">Cergy</cx:pt>
          <cx:pt idx="3167">Cergy</cx:pt>
          <cx:pt idx="3168">Cergy</cx:pt>
          <cx:pt idx="3169">Cergy</cx:pt>
          <cx:pt idx="3170">Cergy</cx:pt>
          <cx:pt idx="3171">Cergy</cx:pt>
          <cx:pt idx="3172">Cergy</cx:pt>
          <cx:pt idx="3173">Cergy</cx:pt>
          <cx:pt idx="3174">Cergy</cx:pt>
          <cx:pt idx="3175">Cergy</cx:pt>
          <cx:pt idx="3176">Cergy</cx:pt>
          <cx:pt idx="3177">Cergy</cx:pt>
          <cx:pt idx="3178">Cergy</cx:pt>
          <cx:pt idx="3179">Cergy</cx:pt>
          <cx:pt idx="3180">Cergy</cx:pt>
          <cx:pt idx="3181">Avignon</cx:pt>
          <cx:pt idx="3182">Avignon</cx:pt>
          <cx:pt idx="3183">Avignon</cx:pt>
          <cx:pt idx="3184">Avignon</cx:pt>
          <cx:pt idx="3185">Avignon</cx:pt>
          <cx:pt idx="3186">Avignon</cx:pt>
          <cx:pt idx="3187">Cergy</cx:pt>
          <cx:pt idx="3188">Cergy</cx:pt>
          <cx:pt idx="3189">Cergy</cx:pt>
          <cx:pt idx="3190">Montauban</cx:pt>
          <cx:pt idx="3191">Avignon</cx:pt>
          <cx:pt idx="3192">Cergy</cx:pt>
          <cx:pt idx="3193">Cergy</cx:pt>
          <cx:pt idx="3194">Reims</cx:pt>
          <cx:pt idx="3195">Avignon</cx:pt>
          <cx:pt idx="3196">Avignon</cx:pt>
          <cx:pt idx="3197">Avignon</cx:pt>
          <cx:pt idx="3198">Cergy</cx:pt>
          <cx:pt idx="3199">Cergy</cx:pt>
          <cx:pt idx="3200">Montauban</cx:pt>
          <cx:pt idx="3201">Avignon</cx:pt>
          <cx:pt idx="3202">Avignon</cx:pt>
          <cx:pt idx="3203">Avignon</cx:pt>
          <cx:pt idx="3204">Avignon</cx:pt>
          <cx:pt idx="3205">Avignon</cx:pt>
          <cx:pt idx="3206">Avignon</cx:pt>
          <cx:pt idx="3207">Avignon</cx:pt>
          <cx:pt idx="3208">Avignon</cx:pt>
          <cx:pt idx="3209">Avignon</cx:pt>
          <cx:pt idx="3210">Avignon</cx:pt>
          <cx:pt idx="3211">Avignon</cx:pt>
          <cx:pt idx="3212">Avignon</cx:pt>
          <cx:pt idx="3213">Avignon</cx:pt>
          <cx:pt idx="3214">Cergy</cx:pt>
          <cx:pt idx="3215">Cergy</cx:pt>
          <cx:pt idx="3216">Avignon</cx:pt>
          <cx:pt idx="3217">Avignon</cx:pt>
          <cx:pt idx="3218">Avignon</cx:pt>
          <cx:pt idx="3219">Avignon</cx:pt>
          <cx:pt idx="3220">Reims</cx:pt>
          <cx:pt idx="3221">Avignon</cx:pt>
          <cx:pt idx="3222">Avignon</cx:pt>
          <cx:pt idx="3223">Avignon</cx:pt>
          <cx:pt idx="3224">Avignon</cx:pt>
          <cx:pt idx="3225">Cergy</cx:pt>
          <cx:pt idx="3226">Cergy</cx:pt>
          <cx:pt idx="3227">Cergy</cx:pt>
          <cx:pt idx="3228">Cergy</cx:pt>
          <cx:pt idx="3229">Cergy</cx:pt>
          <cx:pt idx="3230">Cergy</cx:pt>
          <cx:pt idx="3231">Cergy</cx:pt>
          <cx:pt idx="3232">Cergy</cx:pt>
          <cx:pt idx="3233">Cergy</cx:pt>
          <cx:pt idx="3234">Cergy</cx:pt>
          <cx:pt idx="3235">Cergy</cx:pt>
          <cx:pt idx="3236">Cergy</cx:pt>
          <cx:pt idx="3237">Cergy</cx:pt>
          <cx:pt idx="3238">Cergy</cx:pt>
          <cx:pt idx="3239">Cergy</cx:pt>
          <cx:pt idx="3240">Cergy</cx:pt>
          <cx:pt idx="3241">Cergy</cx:pt>
          <cx:pt idx="3242">Cergy</cx:pt>
          <cx:pt idx="3243">Cergy</cx:pt>
          <cx:pt idx="3244">Montauban</cx:pt>
          <cx:pt idx="3245">Reims</cx:pt>
          <cx:pt idx="3246">Reims</cx:pt>
          <cx:pt idx="3247">Reims</cx:pt>
          <cx:pt idx="3248">Reims</cx:pt>
          <cx:pt idx="3249">Cergy</cx:pt>
          <cx:pt idx="3250">Avignon</cx:pt>
          <cx:pt idx="3251">Reims</cx:pt>
          <cx:pt idx="3252">Reims</cx:pt>
          <cx:pt idx="3253">Reims</cx:pt>
          <cx:pt idx="3254">Reims</cx:pt>
          <cx:pt idx="3255">Reims</cx:pt>
          <cx:pt idx="3256">Reims</cx:pt>
          <cx:pt idx="3257">Reims</cx:pt>
          <cx:pt idx="3258">Reims</cx:pt>
          <cx:pt idx="3259">Reims</cx:pt>
          <cx:pt idx="3260">Reims</cx:pt>
          <cx:pt idx="3261">Reims</cx:pt>
          <cx:pt idx="3262">Reims</cx:pt>
          <cx:pt idx="3263">Reims</cx:pt>
          <cx:pt idx="3264">Reims</cx:pt>
          <cx:pt idx="3265">Reims</cx:pt>
          <cx:pt idx="3266">Reims</cx:pt>
          <cx:pt idx="3267">Reims</cx:pt>
          <cx:pt idx="3268">Cergy</cx:pt>
          <cx:pt idx="3269">Cergy</cx:pt>
          <cx:pt idx="3270">Cergy</cx:pt>
          <cx:pt idx="3271">Cergy</cx:pt>
          <cx:pt idx="3272">Cergy</cx:pt>
          <cx:pt idx="3273">Avignon</cx:pt>
          <cx:pt idx="3274">Avignon</cx:pt>
          <cx:pt idx="3275">Cergy</cx:pt>
          <cx:pt idx="3276">Cergy</cx:pt>
          <cx:pt idx="3277">Reims</cx:pt>
          <cx:pt idx="3278">Cergy</cx:pt>
          <cx:pt idx="3279">Cergy</cx:pt>
          <cx:pt idx="3280">Cergy</cx:pt>
          <cx:pt idx="3281">Avignon</cx:pt>
          <cx:pt idx="3282">Cergy</cx:pt>
          <cx:pt idx="3283">Cergy</cx:pt>
          <cx:pt idx="3284">Cergy</cx:pt>
          <cx:pt idx="3285">Reims</cx:pt>
          <cx:pt idx="3286">Reims</cx:pt>
          <cx:pt idx="3287">Reims</cx:pt>
          <cx:pt idx="3288">Reims</cx:pt>
          <cx:pt idx="3289">Reims</cx:pt>
          <cx:pt idx="3290">Reims</cx:pt>
          <cx:pt idx="3291">Reims</cx:pt>
          <cx:pt idx="3292">Reims</cx:pt>
          <cx:pt idx="3293">Reims</cx:pt>
          <cx:pt idx="3294">Reims</cx:pt>
          <cx:pt idx="3295">Reims</cx:pt>
          <cx:pt idx="3296">Reims</cx:pt>
          <cx:pt idx="3297">Reims</cx:pt>
          <cx:pt idx="3298">Reims</cx:pt>
          <cx:pt idx="3299">Reims</cx:pt>
          <cx:pt idx="3300">Reims</cx:pt>
          <cx:pt idx="3301">Reims</cx:pt>
          <cx:pt idx="3302">Reims</cx:pt>
          <cx:pt idx="3303">Reims</cx:pt>
          <cx:pt idx="3304">Reims</cx:pt>
          <cx:pt idx="3305">Reims</cx:pt>
          <cx:pt idx="3306">Reims</cx:pt>
          <cx:pt idx="3307">Reims</cx:pt>
          <cx:pt idx="3308">Reims</cx:pt>
          <cx:pt idx="3309">Reims</cx:pt>
          <cx:pt idx="3310">Reims</cx:pt>
          <cx:pt idx="3311">Reims</cx:pt>
          <cx:pt idx="3312">Reims</cx:pt>
          <cx:pt idx="3313">Reims</cx:pt>
          <cx:pt idx="3314">Reims</cx:pt>
          <cx:pt idx="3315">Reims</cx:pt>
          <cx:pt idx="3316">Reims</cx:pt>
          <cx:pt idx="3317">Reims</cx:pt>
          <cx:pt idx="3318">Reims</cx:pt>
          <cx:pt idx="3319">Reims</cx:pt>
          <cx:pt idx="3320">Reims</cx:pt>
          <cx:pt idx="3321">Reims</cx:pt>
          <cx:pt idx="3322">Reims</cx:pt>
          <cx:pt idx="3323">Reims</cx:pt>
          <cx:pt idx="3324">Reims</cx:pt>
          <cx:pt idx="3325">Cergy</cx:pt>
          <cx:pt idx="3326">Avignon</cx:pt>
          <cx:pt idx="3327">Cergy</cx:pt>
          <cx:pt idx="3328">Cergy</cx:pt>
          <cx:pt idx="3329">Cergy</cx:pt>
          <cx:pt idx="3330">Cergy</cx:pt>
          <cx:pt idx="3331">Cergy</cx:pt>
          <cx:pt idx="3332">Avignon</cx:pt>
          <cx:pt idx="3333">Avignon</cx:pt>
          <cx:pt idx="3334">Avignon</cx:pt>
          <cx:pt idx="3335">Avignon</cx:pt>
          <cx:pt idx="3336">Avignon</cx:pt>
          <cx:pt idx="3337">Avignon</cx:pt>
          <cx:pt idx="3338">Montauban</cx:pt>
          <cx:pt idx="3339">Cergy</cx:pt>
          <cx:pt idx="3340">Cergy</cx:pt>
          <cx:pt idx="3341">Cergy</cx:pt>
          <cx:pt idx="3342">Cergy</cx:pt>
          <cx:pt idx="3343">Cergy</cx:pt>
          <cx:pt idx="3344">Cergy</cx:pt>
          <cx:pt idx="3345">Cergy</cx:pt>
          <cx:pt idx="3346">Cergy</cx:pt>
          <cx:pt idx="3347">Cergy</cx:pt>
          <cx:pt idx="3348">Cergy</cx:pt>
          <cx:pt idx="3349">Cergy</cx:pt>
          <cx:pt idx="3350">Cergy</cx:pt>
          <cx:pt idx="3351">Cergy</cx:pt>
          <cx:pt idx="3352">Cergy</cx:pt>
          <cx:pt idx="3353">Cergy</cx:pt>
          <cx:pt idx="3354">Cergy</cx:pt>
          <cx:pt idx="3355">Cergy</cx:pt>
          <cx:pt idx="3356">Cergy</cx:pt>
          <cx:pt idx="3357">Cergy</cx:pt>
          <cx:pt idx="3358">Cergy</cx:pt>
          <cx:pt idx="3359">Cergy</cx:pt>
          <cx:pt idx="3360">Cergy</cx:pt>
          <cx:pt idx="3361">Cergy</cx:pt>
          <cx:pt idx="3362">Cergy</cx:pt>
          <cx:pt idx="3363">Cergy</cx:pt>
          <cx:pt idx="3364">Cergy</cx:pt>
          <cx:pt idx="3365">Cergy</cx:pt>
          <cx:pt idx="3366">Cergy</cx:pt>
          <cx:pt idx="3367">Cergy</cx:pt>
          <cx:pt idx="3368">Cergy</cx:pt>
          <cx:pt idx="3369">Cergy</cx:pt>
          <cx:pt idx="3370">Cergy</cx:pt>
          <cx:pt idx="3371">Cergy</cx:pt>
          <cx:pt idx="3372">Avignon</cx:pt>
          <cx:pt idx="3373">Cergy</cx:pt>
          <cx:pt idx="3374">Cergy</cx:pt>
          <cx:pt idx="3375">Avignon</cx:pt>
          <cx:pt idx="3376">Avignon</cx:pt>
          <cx:pt idx="3377">Avignon</cx:pt>
          <cx:pt idx="3378">Avignon</cx:pt>
          <cx:pt idx="3379">Avignon</cx:pt>
          <cx:pt idx="3380">Cergy</cx:pt>
          <cx:pt idx="3381">Reims</cx:pt>
          <cx:pt idx="3382">Reims</cx:pt>
          <cx:pt idx="3383">Reims</cx:pt>
          <cx:pt idx="3384">Reims</cx:pt>
          <cx:pt idx="3385">Reims</cx:pt>
          <cx:pt idx="3386">Reims</cx:pt>
          <cx:pt idx="3387">Reims</cx:pt>
          <cx:pt idx="3388">Reims</cx:pt>
          <cx:pt idx="3389">Reims</cx:pt>
          <cx:pt idx="3390">Reims</cx:pt>
          <cx:pt idx="3391">Reims</cx:pt>
          <cx:pt idx="3392">Reims</cx:pt>
          <cx:pt idx="3393">Reims</cx:pt>
          <cx:pt idx="3394">Reims</cx:pt>
          <cx:pt idx="3395">Reims</cx:pt>
          <cx:pt idx="3396">Reims</cx:pt>
          <cx:pt idx="3397">Reims</cx:pt>
          <cx:pt idx="3398">Reims</cx:pt>
          <cx:pt idx="3399">Reims</cx:pt>
          <cx:pt idx="3400">Reims</cx:pt>
          <cx:pt idx="3401">Reims</cx:pt>
          <cx:pt idx="3402">Reims</cx:pt>
          <cx:pt idx="3403">Reims</cx:pt>
          <cx:pt idx="3404">Reims</cx:pt>
          <cx:pt idx="3405">Reims</cx:pt>
          <cx:pt idx="3406">Reims</cx:pt>
          <cx:pt idx="3407">Reims</cx:pt>
          <cx:pt idx="3408">Reims</cx:pt>
          <cx:pt idx="3409">Reims</cx:pt>
          <cx:pt idx="3410">Reims</cx:pt>
          <cx:pt idx="3411">Reims</cx:pt>
          <cx:pt idx="3412">Reims</cx:pt>
          <cx:pt idx="3413">Reims</cx:pt>
          <cx:pt idx="3414">Reims</cx:pt>
          <cx:pt idx="3415">Reims</cx:pt>
          <cx:pt idx="3416">Reims</cx:pt>
          <cx:pt idx="3417">Reims</cx:pt>
          <cx:pt idx="3418">Reims</cx:pt>
          <cx:pt idx="3419">Reims</cx:pt>
          <cx:pt idx="3420">Reims</cx:pt>
          <cx:pt idx="3421">Reims</cx:pt>
          <cx:pt idx="3422">Reims</cx:pt>
          <cx:pt idx="3423">Reims</cx:pt>
          <cx:pt idx="3424">Reims</cx:pt>
          <cx:pt idx="3425">Reims</cx:pt>
          <cx:pt idx="3426">Reims</cx:pt>
          <cx:pt idx="3427">Reims</cx:pt>
          <cx:pt idx="3428">Reims</cx:pt>
          <cx:pt idx="3429">Reims</cx:pt>
          <cx:pt idx="3430">Reims</cx:pt>
          <cx:pt idx="3431">Reims</cx:pt>
          <cx:pt idx="3432">Cergy</cx:pt>
          <cx:pt idx="3433">Cergy</cx:pt>
          <cx:pt idx="3434">Cergy</cx:pt>
          <cx:pt idx="3435">Cergy</cx:pt>
          <cx:pt idx="3436">Cergy</cx:pt>
          <cx:pt idx="3437">Cergy</cx:pt>
          <cx:pt idx="3438">Reims</cx:pt>
          <cx:pt idx="3439">Reims</cx:pt>
          <cx:pt idx="3440">Reims</cx:pt>
          <cx:pt idx="3441">Reims</cx:pt>
          <cx:pt idx="3442">Reims</cx:pt>
          <cx:pt idx="3443">Cergy</cx:pt>
          <cx:pt idx="3444">Cergy</cx:pt>
          <cx:pt idx="3445">Avignon</cx:pt>
          <cx:pt idx="3446">Reims</cx:pt>
          <cx:pt idx="3447">Reims</cx:pt>
          <cx:pt idx="3448">Reims</cx:pt>
          <cx:pt idx="3449">Reims</cx:pt>
          <cx:pt idx="3450">Reims</cx:pt>
          <cx:pt idx="3451">Reims</cx:pt>
          <cx:pt idx="3452">Reims</cx:pt>
          <cx:pt idx="3453">Reims</cx:pt>
          <cx:pt idx="3454">Reims</cx:pt>
          <cx:pt idx="3455">Reims</cx:pt>
          <cx:pt idx="3456">Reims</cx:pt>
          <cx:pt idx="3457">Reims</cx:pt>
          <cx:pt idx="3458">Reims</cx:pt>
          <cx:pt idx="3459">Reims</cx:pt>
          <cx:pt idx="3460">Reims</cx:pt>
          <cx:pt idx="3461">Reims</cx:pt>
          <cx:pt idx="3462">Reims</cx:pt>
          <cx:pt idx="3463">Reims</cx:pt>
          <cx:pt idx="3464">Reims</cx:pt>
          <cx:pt idx="3465">Reims</cx:pt>
          <cx:pt idx="3466">Reims</cx:pt>
          <cx:pt idx="3467">Reims</cx:pt>
          <cx:pt idx="3468">Reims</cx:pt>
          <cx:pt idx="3469">Reims</cx:pt>
          <cx:pt idx="3470">Reims</cx:pt>
          <cx:pt idx="3471">Reims</cx:pt>
          <cx:pt idx="3472">Reims</cx:pt>
          <cx:pt idx="3473">Reims</cx:pt>
          <cx:pt idx="3474">Reims</cx:pt>
          <cx:pt idx="3475">Reims</cx:pt>
          <cx:pt idx="3476">Reims</cx:pt>
          <cx:pt idx="3477">Reims</cx:pt>
          <cx:pt idx="3478">Reims</cx:pt>
          <cx:pt idx="3479">Reims</cx:pt>
          <cx:pt idx="3480">Reims</cx:pt>
          <cx:pt idx="3481">Reims</cx:pt>
          <cx:pt idx="3482">Reims</cx:pt>
          <cx:pt idx="3483">Reims</cx:pt>
          <cx:pt idx="3484">Reims</cx:pt>
          <cx:pt idx="3485">Reims</cx:pt>
          <cx:pt idx="3486">Reims</cx:pt>
          <cx:pt idx="3487">Reims</cx:pt>
          <cx:pt idx="3488">Reims</cx:pt>
          <cx:pt idx="3489">Cergy</cx:pt>
          <cx:pt idx="3490">Avignon</cx:pt>
          <cx:pt idx="3491">Reims</cx:pt>
          <cx:pt idx="3492">Avignon</cx:pt>
          <cx:pt idx="3493">Reims</cx:pt>
          <cx:pt idx="3494">Reims</cx:pt>
          <cx:pt idx="3495">Reims</cx:pt>
          <cx:pt idx="3496">Reims</cx:pt>
          <cx:pt idx="3497">Avignon</cx:pt>
          <cx:pt idx="3498">Avignon</cx:pt>
          <cx:pt idx="3499">Avignon</cx:pt>
          <cx:pt idx="3500">Avignon</cx:pt>
          <cx:pt idx="3501">Avignon</cx:pt>
          <cx:pt idx="3502">Avignon</cx:pt>
          <cx:pt idx="3503">Reims</cx:pt>
          <cx:pt idx="3504">Reims</cx:pt>
          <cx:pt idx="3505">Avignon</cx:pt>
          <cx:pt idx="3506">Cergy</cx:pt>
          <cx:pt idx="3507">Avignon</cx:pt>
          <cx:pt idx="3508">Cergy</cx:pt>
          <cx:pt idx="3509">Cergy</cx:pt>
          <cx:pt idx="3510">Cergy</cx:pt>
          <cx:pt idx="3511">Cergy</cx:pt>
          <cx:pt idx="3512">Cergy</cx:pt>
          <cx:pt idx="3513">Cergy</cx:pt>
          <cx:pt idx="3514">Cergy</cx:pt>
          <cx:pt idx="3515">Cergy</cx:pt>
          <cx:pt idx="3516">Cergy</cx:pt>
          <cx:pt idx="3517">Cergy</cx:pt>
          <cx:pt idx="3518">Cergy</cx:pt>
          <cx:pt idx="3519">Cergy</cx:pt>
          <cx:pt idx="3520">Cergy</cx:pt>
          <cx:pt idx="3521">Cergy</cx:pt>
          <cx:pt idx="3522">Cergy</cx:pt>
          <cx:pt idx="3523">Cergy</cx:pt>
          <cx:pt idx="3524">Cergy</cx:pt>
          <cx:pt idx="3525">Cergy</cx:pt>
          <cx:pt idx="3526">Cergy</cx:pt>
          <cx:pt idx="3527">Cergy</cx:pt>
          <cx:pt idx="3528">Cergy</cx:pt>
          <cx:pt idx="3529">Cergy</cx:pt>
          <cx:pt idx="3530">Cergy</cx:pt>
          <cx:pt idx="3531">Cergy</cx:pt>
          <cx:pt idx="3532">Cergy</cx:pt>
          <cx:pt idx="3533">Cergy</cx:pt>
          <cx:pt idx="3534">Cergy</cx:pt>
          <cx:pt idx="3535">Avignon</cx:pt>
          <cx:pt idx="3536">Cergy</cx:pt>
          <cx:pt idx="3537">Cergy</cx:pt>
          <cx:pt idx="3538">Cergy</cx:pt>
          <cx:pt idx="3539">Cergy</cx:pt>
          <cx:pt idx="3540">Cergy</cx:pt>
          <cx:pt idx="3541">Cergy</cx:pt>
          <cx:pt idx="3542">Cergy</cx:pt>
          <cx:pt idx="3543">Cergy</cx:pt>
          <cx:pt idx="3544">Cergy</cx:pt>
          <cx:pt idx="3545">Cergy</cx:pt>
          <cx:pt idx="3546">Cergy</cx:pt>
          <cx:pt idx="3547">Cergy</cx:pt>
          <cx:pt idx="3548">Cergy</cx:pt>
          <cx:pt idx="3549">Cergy</cx:pt>
          <cx:pt idx="3550">Cergy</cx:pt>
          <cx:pt idx="3551">Cergy</cx:pt>
          <cx:pt idx="3552">Cergy</cx:pt>
          <cx:pt idx="3553">Reims</cx:pt>
          <cx:pt idx="3554">Reims</cx:pt>
          <cx:pt idx="3555">Reims</cx:pt>
          <cx:pt idx="3556">Reims</cx:pt>
          <cx:pt idx="3557">Reims</cx:pt>
          <cx:pt idx="3558">Reims</cx:pt>
          <cx:pt idx="3559">Reims</cx:pt>
          <cx:pt idx="3560">Reims</cx:pt>
          <cx:pt idx="3561">Reims</cx:pt>
          <cx:pt idx="3562">Reims</cx:pt>
          <cx:pt idx="3563">Reims</cx:pt>
          <cx:pt idx="3564">Reims</cx:pt>
          <cx:pt idx="3565">Reims</cx:pt>
          <cx:pt idx="3566">Reims</cx:pt>
          <cx:pt idx="3567">Reims</cx:pt>
          <cx:pt idx="3568">Reims</cx:pt>
          <cx:pt idx="3569">Reims</cx:pt>
          <cx:pt idx="3570">Reims</cx:pt>
          <cx:pt idx="3571">Reims</cx:pt>
          <cx:pt idx="3572">Reims</cx:pt>
          <cx:pt idx="3573">Cergy</cx:pt>
          <cx:pt idx="3574">Cergy</cx:pt>
          <cx:pt idx="3575">Cergy</cx:pt>
          <cx:pt idx="3576">Cergy</cx:pt>
          <cx:pt idx="3577">Cergy</cx:pt>
          <cx:pt idx="3578">Cergy</cx:pt>
          <cx:pt idx="3579">Cergy</cx:pt>
          <cx:pt idx="3580">Cergy</cx:pt>
          <cx:pt idx="3581">Cergy</cx:pt>
          <cx:pt idx="3582">Cergy</cx:pt>
          <cx:pt idx="3583">Cergy</cx:pt>
          <cx:pt idx="3584">Cergy</cx:pt>
          <cx:pt idx="3585">Cergy</cx:pt>
          <cx:pt idx="3586">Cergy</cx:pt>
          <cx:pt idx="3587">Cergy</cx:pt>
          <cx:pt idx="3588">Cergy</cx:pt>
          <cx:pt idx="3589">Cergy</cx:pt>
          <cx:pt idx="3590">Cergy</cx:pt>
          <cx:pt idx="3591">Cergy</cx:pt>
          <cx:pt idx="3592">Cergy</cx:pt>
          <cx:pt idx="3593">Cergy</cx:pt>
          <cx:pt idx="3594">Cergy</cx:pt>
          <cx:pt idx="3595">Avignon</cx:pt>
          <cx:pt idx="3596">Cergy</cx:pt>
          <cx:pt idx="3597">Reims</cx:pt>
          <cx:pt idx="3598">Avignon</cx:pt>
          <cx:pt idx="3599">Montauban</cx:pt>
          <cx:pt idx="3600">Montauban</cx:pt>
          <cx:pt idx="3601">Montauban</cx:pt>
          <cx:pt idx="3602">Montauban</cx:pt>
          <cx:pt idx="3603">Avignon</cx:pt>
          <cx:pt idx="3604">Avignon</cx:pt>
          <cx:pt idx="3605">Avignon</cx:pt>
          <cx:pt idx="3606">Avignon</cx:pt>
          <cx:pt idx="3607">Avignon</cx:pt>
          <cx:pt idx="3608">Avignon</cx:pt>
          <cx:pt idx="3609">Avignon</cx:pt>
          <cx:pt idx="3610">Avignon</cx:pt>
          <cx:pt idx="3611">Avignon</cx:pt>
          <cx:pt idx="3612">Avignon</cx:pt>
          <cx:pt idx="3613">Avignon</cx:pt>
          <cx:pt idx="3614">Avignon</cx:pt>
          <cx:pt idx="3615">Avignon</cx:pt>
          <cx:pt idx="3616">Avignon</cx:pt>
          <cx:pt idx="3617">Avignon</cx:pt>
          <cx:pt idx="3618">Avignon</cx:pt>
          <cx:pt idx="3619">Avignon</cx:pt>
          <cx:pt idx="3620">Avignon</cx:pt>
          <cx:pt idx="3621">Avignon</cx:pt>
          <cx:pt idx="3622">Avignon</cx:pt>
          <cx:pt idx="3623">Avignon</cx:pt>
          <cx:pt idx="3624">Avignon</cx:pt>
          <cx:pt idx="3625">Avignon</cx:pt>
          <cx:pt idx="3626">Avignon</cx:pt>
          <cx:pt idx="3627">Cergy</cx:pt>
          <cx:pt idx="3628">Cergy</cx:pt>
          <cx:pt idx="3629">Cergy</cx:pt>
          <cx:pt idx="3630">Avignon</cx:pt>
          <cx:pt idx="3631">Avignon</cx:pt>
          <cx:pt idx="3632">Reims</cx:pt>
          <cx:pt idx="3633">Reims</cx:pt>
          <cx:pt idx="3634">Reims</cx:pt>
          <cx:pt idx="3635">Avignon</cx:pt>
          <cx:pt idx="3636">Cergy</cx:pt>
          <cx:pt idx="3637">Cergy</cx:pt>
          <cx:pt idx="3638">Cergy</cx:pt>
          <cx:pt idx="3639">Cergy</cx:pt>
          <cx:pt idx="3640">Cergy</cx:pt>
          <cx:pt idx="3641">Avignon</cx:pt>
          <cx:pt idx="3642">Avignon</cx:pt>
          <cx:pt idx="3643">Avignon</cx:pt>
          <cx:pt idx="3644">Avignon</cx:pt>
          <cx:pt idx="3645">Avignon</cx:pt>
          <cx:pt idx="3646">Avignon</cx:pt>
          <cx:pt idx="3647">Avignon</cx:pt>
          <cx:pt idx="3648">Avignon</cx:pt>
          <cx:pt idx="3649">Avignon</cx:pt>
          <cx:pt idx="3650">Avignon</cx:pt>
          <cx:pt idx="3651">Avignon</cx:pt>
          <cx:pt idx="3652">Avignon</cx:pt>
          <cx:pt idx="3653">Avignon</cx:pt>
          <cx:pt idx="3654">Avignon</cx:pt>
          <cx:pt idx="3655">Avignon</cx:pt>
          <cx:pt idx="3656">Avignon</cx:pt>
          <cx:pt idx="3657">Cergy</cx:pt>
          <cx:pt idx="3658">Avignon</cx:pt>
          <cx:pt idx="3659">Cergy</cx:pt>
          <cx:pt idx="3660">Cergy</cx:pt>
          <cx:pt idx="3661">Cergy</cx:pt>
          <cx:pt idx="3662">Cergy</cx:pt>
          <cx:pt idx="3663">Cergy</cx:pt>
          <cx:pt idx="3664">Reims</cx:pt>
          <cx:pt idx="3665">Montauban</cx:pt>
          <cx:pt idx="3666">Avignon</cx:pt>
          <cx:pt idx="3667">Avignon</cx:pt>
          <cx:pt idx="3668">Cergy</cx:pt>
          <cx:pt idx="3669">Reims</cx:pt>
          <cx:pt idx="3670">Reims</cx:pt>
          <cx:pt idx="3671">Reims</cx:pt>
          <cx:pt idx="3672">Reims</cx:pt>
          <cx:pt idx="3673">Reims</cx:pt>
          <cx:pt idx="3674">Reims</cx:pt>
          <cx:pt idx="3675">Reims</cx:pt>
          <cx:pt idx="3676">Reims</cx:pt>
          <cx:pt idx="3677">Reims</cx:pt>
          <cx:pt idx="3678">Reims</cx:pt>
          <cx:pt idx="3679">Reims</cx:pt>
          <cx:pt idx="3680">Reims</cx:pt>
          <cx:pt idx="3681">Reims</cx:pt>
          <cx:pt idx="3682">Reims</cx:pt>
          <cx:pt idx="3683">Reims</cx:pt>
          <cx:pt idx="3684">Reims</cx:pt>
          <cx:pt idx="3685">Reims</cx:pt>
          <cx:pt idx="3686">Reims</cx:pt>
          <cx:pt idx="3687">Reims</cx:pt>
          <cx:pt idx="3688">Reims</cx:pt>
          <cx:pt idx="3689">Reims</cx:pt>
          <cx:pt idx="3690">Reims</cx:pt>
          <cx:pt idx="3691">Reims</cx:pt>
          <cx:pt idx="3692">Reims</cx:pt>
          <cx:pt idx="3693">Reims</cx:pt>
          <cx:pt idx="3694">Avignon</cx:pt>
          <cx:pt idx="3695">Avignon</cx:pt>
          <cx:pt idx="3696">Avignon</cx:pt>
          <cx:pt idx="3697">Avignon</cx:pt>
          <cx:pt idx="3698">Avignon</cx:pt>
          <cx:pt idx="3699">Avignon</cx:pt>
          <cx:pt idx="3700">Avignon</cx:pt>
          <cx:pt idx="3701">Avignon</cx:pt>
          <cx:pt idx="3702">Avignon</cx:pt>
          <cx:pt idx="3703">Avignon</cx:pt>
          <cx:pt idx="3704">Avignon</cx:pt>
          <cx:pt idx="3705">Avignon</cx:pt>
          <cx:pt idx="3706">Avignon</cx:pt>
          <cx:pt idx="3707">Avignon</cx:pt>
          <cx:pt idx="3708">Avignon</cx:pt>
          <cx:pt idx="3709">Avignon</cx:pt>
          <cx:pt idx="3710">Reims</cx:pt>
          <cx:pt idx="3711">Avignon</cx:pt>
          <cx:pt idx="3712">Avignon</cx:pt>
          <cx:pt idx="3713">Avignon</cx:pt>
          <cx:pt idx="3714">Avignon</cx:pt>
          <cx:pt idx="3715">Avignon</cx:pt>
          <cx:pt idx="3716">Avignon</cx:pt>
          <cx:pt idx="3717">Avignon</cx:pt>
          <cx:pt idx="3718">Avignon</cx:pt>
          <cx:pt idx="3719">Cergy</cx:pt>
          <cx:pt idx="3720">Cergy</cx:pt>
          <cx:pt idx="3721">Cergy</cx:pt>
          <cx:pt idx="3722">Cergy</cx:pt>
          <cx:pt idx="3723">Cergy</cx:pt>
          <cx:pt idx="3724">Cergy</cx:pt>
          <cx:pt idx="3725">Cergy</cx:pt>
          <cx:pt idx="3726">Cergy</cx:pt>
          <cx:pt idx="3727">Avignon</cx:pt>
          <cx:pt idx="3728">Avignon</cx:pt>
          <cx:pt idx="3729">Avignon</cx:pt>
          <cx:pt idx="3730">Avignon</cx:pt>
          <cx:pt idx="3731">Avignon</cx:pt>
          <cx:pt idx="3732">Avignon</cx:pt>
          <cx:pt idx="3733">Avignon</cx:pt>
          <cx:pt idx="3734">Avignon</cx:pt>
          <cx:pt idx="3735">Avignon</cx:pt>
          <cx:pt idx="3736">Avignon</cx:pt>
          <cx:pt idx="3737">Avignon</cx:pt>
          <cx:pt idx="3738">Avignon</cx:pt>
          <cx:pt idx="3739">Avignon</cx:pt>
          <cx:pt idx="3740">Avignon</cx:pt>
          <cx:pt idx="3741">Avignon</cx:pt>
          <cx:pt idx="3742">Avignon</cx:pt>
          <cx:pt idx="3743">Avignon</cx:pt>
          <cx:pt idx="3744">Avignon</cx:pt>
          <cx:pt idx="3745">Avignon</cx:pt>
          <cx:pt idx="3746">Reims</cx:pt>
          <cx:pt idx="3747">Reims</cx:pt>
          <cx:pt idx="3748">Reims</cx:pt>
          <cx:pt idx="3749">Reims</cx:pt>
          <cx:pt idx="3750">Reims</cx:pt>
          <cx:pt idx="3751">Reims</cx:pt>
          <cx:pt idx="3752">Reims</cx:pt>
          <cx:pt idx="3753">Cergy</cx:pt>
          <cx:pt idx="3754">Cergy</cx:pt>
          <cx:pt idx="3755">Cergy</cx:pt>
          <cx:pt idx="3756">Cergy</cx:pt>
          <cx:pt idx="3757">Cergy</cx:pt>
          <cx:pt idx="3758">Avignon</cx:pt>
          <cx:pt idx="3759">Avignon</cx:pt>
          <cx:pt idx="3760">Cergy</cx:pt>
          <cx:pt idx="3761">Cergy</cx:pt>
          <cx:pt idx="3762">Cergy</cx:pt>
          <cx:pt idx="3763">Montauban</cx:pt>
          <cx:pt idx="3764">Montauban</cx:pt>
          <cx:pt idx="3765">Montauban</cx:pt>
          <cx:pt idx="3766">Montauban</cx:pt>
          <cx:pt idx="3767">Montauban</cx:pt>
          <cx:pt idx="3768">Montauban</cx:pt>
          <cx:pt idx="3769">Montauban</cx:pt>
          <cx:pt idx="3770">Montauban</cx:pt>
          <cx:pt idx="3771">Montauban</cx:pt>
          <cx:pt idx="3772">Montauban</cx:pt>
          <cx:pt idx="3773">Montauban</cx:pt>
          <cx:pt idx="3774">Montauban</cx:pt>
          <cx:pt idx="3775">Montauban</cx:pt>
          <cx:pt idx="3776">Montauban</cx:pt>
          <cx:pt idx="3777">Montauban</cx:pt>
          <cx:pt idx="3778">Montauban</cx:pt>
          <cx:pt idx="3779">Montauban</cx:pt>
          <cx:pt idx="3780">Montauban</cx:pt>
          <cx:pt idx="3781">Montauban</cx:pt>
          <cx:pt idx="3782">Montauban</cx:pt>
          <cx:pt idx="3783">Reims</cx:pt>
          <cx:pt idx="3784">Reims</cx:pt>
          <cx:pt idx="3785">Reims</cx:pt>
          <cx:pt idx="3786">Reims</cx:pt>
          <cx:pt idx="3787">Reims</cx:pt>
          <cx:pt idx="3788">Reims</cx:pt>
          <cx:pt idx="3789">Reims</cx:pt>
          <cx:pt idx="3790">Reims</cx:pt>
          <cx:pt idx="3791">Reims</cx:pt>
          <cx:pt idx="3792">Reims</cx:pt>
          <cx:pt idx="3793">Reims</cx:pt>
          <cx:pt idx="3794">Reims</cx:pt>
          <cx:pt idx="3795">Reims</cx:pt>
          <cx:pt idx="3796">Reims</cx:pt>
          <cx:pt idx="3797">Reims</cx:pt>
          <cx:pt idx="3798">Reims</cx:pt>
          <cx:pt idx="3799">Reims</cx:pt>
          <cx:pt idx="3800">Reims</cx:pt>
          <cx:pt idx="3801">Reims</cx:pt>
          <cx:pt idx="3802">Cergy</cx:pt>
          <cx:pt idx="3803">Avignon</cx:pt>
          <cx:pt idx="3804">Avignon</cx:pt>
          <cx:pt idx="3805">Avignon</cx:pt>
          <cx:pt idx="3806">Avignon</cx:pt>
          <cx:pt idx="3807">Avignon</cx:pt>
          <cx:pt idx="3808">Avignon</cx:pt>
          <cx:pt idx="3809">Avignon</cx:pt>
          <cx:pt idx="3810">Avignon</cx:pt>
          <cx:pt idx="3811">Avignon</cx:pt>
          <cx:pt idx="3812">Avignon</cx:pt>
          <cx:pt idx="3813">Avignon</cx:pt>
          <cx:pt idx="3814">Avignon</cx:pt>
          <cx:pt idx="3815">Avignon</cx:pt>
          <cx:pt idx="3816">Cergy</cx:pt>
          <cx:pt idx="3817">Cergy</cx:pt>
          <cx:pt idx="3818">Avignon</cx:pt>
          <cx:pt idx="3819">Cergy</cx:pt>
          <cx:pt idx="3820">Reims</cx:pt>
          <cx:pt idx="3821">Reims</cx:pt>
          <cx:pt idx="3822">Reims</cx:pt>
          <cx:pt idx="3823">Reims</cx:pt>
          <cx:pt idx="3824">Reims</cx:pt>
          <cx:pt idx="3825">Reims</cx:pt>
          <cx:pt idx="3826">Reims</cx:pt>
          <cx:pt idx="3827">Reims</cx:pt>
          <cx:pt idx="3828">Reims</cx:pt>
          <cx:pt idx="3829">Reims</cx:pt>
          <cx:pt idx="3830">Reims</cx:pt>
          <cx:pt idx="3831">Reims</cx:pt>
          <cx:pt idx="3832">Reims</cx:pt>
          <cx:pt idx="3833">Cergy</cx:pt>
          <cx:pt idx="3834">Cergy</cx:pt>
          <cx:pt idx="3835">Cergy</cx:pt>
          <cx:pt idx="3836">Cergy</cx:pt>
          <cx:pt idx="3837">Cergy</cx:pt>
          <cx:pt idx="3838">Cergy</cx:pt>
          <cx:pt idx="3839">Cergy</cx:pt>
          <cx:pt idx="3840">Cergy</cx:pt>
          <cx:pt idx="3841">Cergy</cx:pt>
          <cx:pt idx="3842">Cergy</cx:pt>
          <cx:pt idx="3843">Cergy</cx:pt>
          <cx:pt idx="3844">Cergy</cx:pt>
          <cx:pt idx="3845">Cergy</cx:pt>
          <cx:pt idx="3846">Cergy</cx:pt>
          <cx:pt idx="3847">Cergy</cx:pt>
          <cx:pt idx="3848">Cergy</cx:pt>
          <cx:pt idx="3849">Cergy</cx:pt>
          <cx:pt idx="3850">Avignon</cx:pt>
          <cx:pt idx="3851">Avignon</cx:pt>
          <cx:pt idx="3852">Avignon</cx:pt>
          <cx:pt idx="3853">Avignon</cx:pt>
          <cx:pt idx="3854">Avignon</cx:pt>
          <cx:pt idx="3855">Avignon</cx:pt>
          <cx:pt idx="3856">Cergy</cx:pt>
          <cx:pt idx="3857">Cergy</cx:pt>
          <cx:pt idx="3858">Cergy</cx:pt>
          <cx:pt idx="3859">Cergy</cx:pt>
          <cx:pt idx="3860">Cergy</cx:pt>
          <cx:pt idx="3861">Cergy</cx:pt>
          <cx:pt idx="3862">Cergy</cx:pt>
          <cx:pt idx="3863">Cergy</cx:pt>
          <cx:pt idx="3864">Cergy</cx:pt>
          <cx:pt idx="3865">Avignon</cx:pt>
          <cx:pt idx="3866">Avignon</cx:pt>
          <cx:pt idx="3867">Cergy</cx:pt>
          <cx:pt idx="3868">Cergy</cx:pt>
          <cx:pt idx="3869">Cergy</cx:pt>
          <cx:pt idx="3870">Cergy</cx:pt>
          <cx:pt idx="3871">Cergy</cx:pt>
          <cx:pt idx="3872">Cergy</cx:pt>
          <cx:pt idx="3873">Cergy</cx:pt>
          <cx:pt idx="3874">Cergy</cx:pt>
          <cx:pt idx="3875">Cergy</cx:pt>
          <cx:pt idx="3876">Cergy</cx:pt>
          <cx:pt idx="3877">Cergy</cx:pt>
          <cx:pt idx="3878">Cergy</cx:pt>
          <cx:pt idx="3879">Cergy</cx:pt>
          <cx:pt idx="3880">Cergy</cx:pt>
          <cx:pt idx="3881">Cergy</cx:pt>
          <cx:pt idx="3882">Cergy</cx:pt>
          <cx:pt idx="3883">Cergy</cx:pt>
          <cx:pt idx="3884">Cergy</cx:pt>
          <cx:pt idx="3885">Cergy</cx:pt>
          <cx:pt idx="3886">Cergy</cx:pt>
          <cx:pt idx="3887">Cergy</cx:pt>
          <cx:pt idx="3888">Cergy</cx:pt>
          <cx:pt idx="3889">Cergy</cx:pt>
          <cx:pt idx="3890">Cergy</cx:pt>
          <cx:pt idx="3891">Cergy</cx:pt>
          <cx:pt idx="3892">Cergy</cx:pt>
          <cx:pt idx="3893">Cergy</cx:pt>
          <cx:pt idx="3894">Cergy</cx:pt>
          <cx:pt idx="3895">Cergy</cx:pt>
          <cx:pt idx="3896">Cergy</cx:pt>
          <cx:pt idx="3897">Cergy</cx:pt>
          <cx:pt idx="3898">Cergy</cx:pt>
          <cx:pt idx="3899">Cergy</cx:pt>
          <cx:pt idx="3900">Cergy</cx:pt>
          <cx:pt idx="3901">Cergy</cx:pt>
          <cx:pt idx="3902">Cergy</cx:pt>
          <cx:pt idx="3903">Cergy</cx:pt>
          <cx:pt idx="3904">Cergy</cx:pt>
          <cx:pt idx="3905">Cergy</cx:pt>
          <cx:pt idx="3906">Cergy</cx:pt>
          <cx:pt idx="3907">Avignon</cx:pt>
          <cx:pt idx="3908">Avignon</cx:pt>
          <cx:pt idx="3909">Avignon</cx:pt>
          <cx:pt idx="3910">Reims</cx:pt>
          <cx:pt idx="3911">Cergy</cx:pt>
          <cx:pt idx="3912">Cergy</cx:pt>
          <cx:pt idx="3913">Avignon</cx:pt>
          <cx:pt idx="3914">Avignon</cx:pt>
          <cx:pt idx="3915">Reims</cx:pt>
          <cx:pt idx="3916">Reims</cx:pt>
          <cx:pt idx="3917">Reims</cx:pt>
          <cx:pt idx="3918">Reims</cx:pt>
          <cx:pt idx="3919">Reims</cx:pt>
          <cx:pt idx="3920">Reims</cx:pt>
          <cx:pt idx="3921">Reims</cx:pt>
          <cx:pt idx="3922">Reims</cx:pt>
          <cx:pt idx="3923">Reims</cx:pt>
          <cx:pt idx="3924">Reims</cx:pt>
          <cx:pt idx="3925">Reims</cx:pt>
          <cx:pt idx="3926">Reims</cx:pt>
          <cx:pt idx="3927">Reims</cx:pt>
          <cx:pt idx="3928">Reims</cx:pt>
          <cx:pt idx="3929">Reims</cx:pt>
          <cx:pt idx="3930">Reims</cx:pt>
          <cx:pt idx="3931">Reims</cx:pt>
          <cx:pt idx="3932">Reims</cx:pt>
          <cx:pt idx="3933">Reims</cx:pt>
          <cx:pt idx="3934">Reims</cx:pt>
          <cx:pt idx="3935">Reims</cx:pt>
          <cx:pt idx="3936">Reims</cx:pt>
          <cx:pt idx="3937">Reims</cx:pt>
          <cx:pt idx="3938">Reims</cx:pt>
          <cx:pt idx="3939">Reims</cx:pt>
          <cx:pt idx="3940">Reims</cx:pt>
          <cx:pt idx="3941">Reims</cx:pt>
          <cx:pt idx="3942">Cergy</cx:pt>
          <cx:pt idx="3943">Cergy</cx:pt>
          <cx:pt idx="3944">Cergy</cx:pt>
          <cx:pt idx="3945">Avignon</cx:pt>
          <cx:pt idx="3946">Avignon</cx:pt>
          <cx:pt idx="3947">Avignon</cx:pt>
          <cx:pt idx="3948">Cergy</cx:pt>
          <cx:pt idx="3949">Reims</cx:pt>
          <cx:pt idx="3950">Cergy</cx:pt>
          <cx:pt idx="3951">Avignon</cx:pt>
          <cx:pt idx="3952">Avignon</cx:pt>
          <cx:pt idx="3953">Avignon</cx:pt>
          <cx:pt idx="3954">Avignon</cx:pt>
          <cx:pt idx="3955">Avignon</cx:pt>
          <cx:pt idx="3956">Avignon</cx:pt>
          <cx:pt idx="3957">Cergy</cx:pt>
          <cx:pt idx="3958">Cergy</cx:pt>
          <cx:pt idx="3959">Avignon</cx:pt>
          <cx:pt idx="3960">Cergy</cx:pt>
          <cx:pt idx="3961">Cergy</cx:pt>
          <cx:pt idx="3962">Cergy</cx:pt>
          <cx:pt idx="3963">Cergy</cx:pt>
          <cx:pt idx="3964">Cergy</cx:pt>
          <cx:pt idx="3965">Cergy</cx:pt>
          <cx:pt idx="3966">Cergy</cx:pt>
          <cx:pt idx="3967">Cergy</cx:pt>
          <cx:pt idx="3968">Cergy</cx:pt>
          <cx:pt idx="3969">Cergy</cx:pt>
          <cx:pt idx="3970">Avignon</cx:pt>
          <cx:pt idx="3971">Avignon</cx:pt>
          <cx:pt idx="3972">Avignon</cx:pt>
          <cx:pt idx="3973">Avignon</cx:pt>
          <cx:pt idx="3974">Avignon</cx:pt>
          <cx:pt idx="3975">Avignon</cx:pt>
          <cx:pt idx="3976">Avignon</cx:pt>
          <cx:pt idx="3977">Avignon</cx:pt>
          <cx:pt idx="3978">Avignon</cx:pt>
          <cx:pt idx="3979">Avignon</cx:pt>
          <cx:pt idx="3980">Avignon</cx:pt>
          <cx:pt idx="3981">Avignon</cx:pt>
          <cx:pt idx="3982">Avignon</cx:pt>
          <cx:pt idx="3983">Avignon</cx:pt>
          <cx:pt idx="3984">Avignon</cx:pt>
          <cx:pt idx="3985">Avignon</cx:pt>
          <cx:pt idx="3986">Avignon</cx:pt>
          <cx:pt idx="3987">Avignon</cx:pt>
          <cx:pt idx="3988">Avignon</cx:pt>
          <cx:pt idx="3989">Avignon</cx:pt>
          <cx:pt idx="3990">Avignon</cx:pt>
          <cx:pt idx="3991">Avignon</cx:pt>
          <cx:pt idx="3992">Avignon</cx:pt>
          <cx:pt idx="3993">Avignon</cx:pt>
          <cx:pt idx="3994">Avignon</cx:pt>
          <cx:pt idx="3995">Clermont-Ferrand</cx:pt>
          <cx:pt idx="3996">Clermont-Ferrand</cx:pt>
          <cx:pt idx="3997">Clermont-Ferrand</cx:pt>
          <cx:pt idx="3998">Clermont-Ferrand</cx:pt>
          <cx:pt idx="3999">Clermont-Ferrand</cx:pt>
          <cx:pt idx="4000">Clermont-Ferrand</cx:pt>
          <cx:pt idx="4001">Clermont-Ferrand</cx:pt>
          <cx:pt idx="4002">Clermont-Ferrand</cx:pt>
          <cx:pt idx="4003">Clermont-Ferrand</cx:pt>
          <cx:pt idx="4004">Clermont-Ferrand</cx:pt>
          <cx:pt idx="4005">Clermont-Ferrand</cx:pt>
          <cx:pt idx="4006">Clermont-Ferrand</cx:pt>
          <cx:pt idx="4007">Clermont-Ferrand</cx:pt>
          <cx:pt idx="4008">Clermont-Ferrand</cx:pt>
          <cx:pt idx="4009">Clermont-Ferrand</cx:pt>
          <cx:pt idx="4010">Clermont-Ferrand</cx:pt>
          <cx:pt idx="4011">Clermont-Ferrand</cx:pt>
          <cx:pt idx="4012">Clermont-Ferrand</cx:pt>
          <cx:pt idx="4013">Clermont-Ferrand</cx:pt>
          <cx:pt idx="4014">Clermont-Ferrand</cx:pt>
          <cx:pt idx="4015">Clermont-Ferrand</cx:pt>
          <cx:pt idx="4016">Clermont-Ferrand</cx:pt>
          <cx:pt idx="4017">Clermont-Ferrand</cx:pt>
          <cx:pt idx="4018">Clermont-Ferrand</cx:pt>
          <cx:pt idx="4019">Clermont-Ferrand</cx:pt>
          <cx:pt idx="4020">Clermont-Ferrand</cx:pt>
          <cx:pt idx="4021">Clermont-Ferrand</cx:pt>
          <cx:pt idx="4022">Clermont-Ferrand</cx:pt>
          <cx:pt idx="4023">Clermont-Ferrand</cx:pt>
          <cx:pt idx="4024">Clermont-Ferrand</cx:pt>
          <cx:pt idx="4025">Clermont-Ferrand</cx:pt>
          <cx:pt idx="4026">Clermont-Ferrand</cx:pt>
          <cx:pt idx="4027">Clermont-Ferrand</cx:pt>
          <cx:pt idx="4028">Clermont-Ferrand</cx:pt>
          <cx:pt idx="4029">Clermont-Ferrand</cx:pt>
          <cx:pt idx="4030">Clermont-Ferrand</cx:pt>
          <cx:pt idx="4031">Clermont-Ferrand</cx:pt>
          <cx:pt idx="4032">Clermont-Ferrand</cx:pt>
          <cx:pt idx="4033">Clermont-Ferrand</cx:pt>
          <cx:pt idx="4034">Clermont-Ferrand</cx:pt>
          <cx:pt idx="4035">Clermont-Ferrand</cx:pt>
          <cx:pt idx="4036">Clermont-Ferrand</cx:pt>
          <cx:pt idx="4037">Clermont-Ferrand</cx:pt>
          <cx:pt idx="4038">Clermont-Ferrand</cx:pt>
          <cx:pt idx="4039">Clermont-Ferrand</cx:pt>
          <cx:pt idx="4040">Clermont-Ferrand</cx:pt>
          <cx:pt idx="4041">Clermont-Ferrand</cx:pt>
          <cx:pt idx="4042">Clermont-Ferrand</cx:pt>
          <cx:pt idx="4043">Clermont-Ferrand</cx:pt>
          <cx:pt idx="4044">Clermont-Ferrand</cx:pt>
          <cx:pt idx="4045">Clermont-Ferrand</cx:pt>
          <cx:pt idx="4046">Clermont-Ferrand</cx:pt>
          <cx:pt idx="4047">Clermont-Ferrand</cx:pt>
          <cx:pt idx="4048">Clermont-Ferrand</cx:pt>
          <cx:pt idx="4049">Clermont-Ferrand</cx:pt>
          <cx:pt idx="4050">Clermont-Ferrand</cx:pt>
          <cx:pt idx="4051">Clermont-Ferrand</cx:pt>
          <cx:pt idx="4052">Clermont-Ferrand</cx:pt>
          <cx:pt idx="4053">Clermont-Ferrand</cx:pt>
          <cx:pt idx="4054">Clermont-Ferrand</cx:pt>
          <cx:pt idx="4055">Clermont-Ferrand</cx:pt>
          <cx:pt idx="4056">Clermont-Ferrand</cx:pt>
          <cx:pt idx="4057">Clermont-Ferrand</cx:pt>
          <cx:pt idx="4058">Clermont-Ferrand</cx:pt>
          <cx:pt idx="4059">Clermont-Ferrand</cx:pt>
          <cx:pt idx="4060">Clermont-Ferrand</cx:pt>
          <cx:pt idx="4061">Clermont-Ferrand</cx:pt>
          <cx:pt idx="4062">Clermont-Ferrand</cx:pt>
          <cx:pt idx="4063">Clermont-Ferrand</cx:pt>
          <cx:pt idx="4064">Clermont-Ferrand</cx:pt>
          <cx:pt idx="4065">Clermont-Ferrand</cx:pt>
          <cx:pt idx="4066">Clermont-Ferrand</cx:pt>
          <cx:pt idx="4067">Clermont-Ferrand</cx:pt>
          <cx:pt idx="4068">Clermont-Ferrand</cx:pt>
          <cx:pt idx="4069">Clermont-Ferrand</cx:pt>
          <cx:pt idx="4070">Clermont-Ferrand</cx:pt>
          <cx:pt idx="4071">Clermont-Ferrand</cx:pt>
          <cx:pt idx="4072">Clermont-Ferrand</cx:pt>
          <cx:pt idx="4073">Clermont-Ferrand</cx:pt>
          <cx:pt idx="4074">Clermont-Ferrand</cx:pt>
          <cx:pt idx="4075">Clermont-Ferrand</cx:pt>
          <cx:pt idx="4076">Clermont-Ferrand</cx:pt>
          <cx:pt idx="4077">Clermont-Ferrand</cx:pt>
          <cx:pt idx="4078">Clermont-Ferrand</cx:pt>
          <cx:pt idx="4079">Clermont-Ferrand</cx:pt>
          <cx:pt idx="4080">Clermont-Ferrand</cx:pt>
          <cx:pt idx="4081">Clermont-Ferrand</cx:pt>
          <cx:pt idx="4082">Clermont-Ferrand</cx:pt>
          <cx:pt idx="4083">Clermont-Ferrand</cx:pt>
          <cx:pt idx="4084">Clermont-Ferrand</cx:pt>
          <cx:pt idx="4085">Clermont-Ferrand</cx:pt>
          <cx:pt idx="4086">Clermont-Ferrand</cx:pt>
          <cx:pt idx="4087">Clermont-Ferrand</cx:pt>
          <cx:pt idx="4088">Clermont-Ferrand</cx:pt>
          <cx:pt idx="4089">Clermont-Ferrand</cx:pt>
          <cx:pt idx="4090">Clermont-Ferrand</cx:pt>
          <cx:pt idx="4091">Clermont-Ferrand</cx:pt>
          <cx:pt idx="4092">Clermont-Ferrand</cx:pt>
          <cx:pt idx="4093">Clermont-Ferrand</cx:pt>
          <cx:pt idx="4094">Clermont-Ferrand</cx:pt>
          <cx:pt idx="4095">Clermont-Ferrand</cx:pt>
          <cx:pt idx="4096">Clermont-Ferrand</cx:pt>
          <cx:pt idx="4097">Clermont-Ferrand</cx:pt>
          <cx:pt idx="4098">Clermont-Ferrand</cx:pt>
          <cx:pt idx="4099">Clermont-Ferrand</cx:pt>
          <cx:pt idx="4100">Clermont-Ferrand</cx:pt>
          <cx:pt idx="4101">Clermont-Ferrand</cx:pt>
          <cx:pt idx="4102">Clermont-Ferrand</cx:pt>
          <cx:pt idx="4103">Clermont-Ferrand</cx:pt>
          <cx:pt idx="4104">Clermont-Ferrand</cx:pt>
          <cx:pt idx="4105">Clermont-Ferrand</cx:pt>
          <cx:pt idx="4106">Cergy</cx:pt>
          <cx:pt idx="4107">Avignon</cx:pt>
          <cx:pt idx="4108">Cergy</cx:pt>
          <cx:pt idx="4109">Cergy</cx:pt>
          <cx:pt idx="4110">Avignon</cx:pt>
          <cx:pt idx="4111">Cergy</cx:pt>
          <cx:pt idx="4112">Cergy</cx:pt>
          <cx:pt idx="4113">Cergy</cx:pt>
          <cx:pt idx="4114">Reims</cx:pt>
          <cx:pt idx="4115">Reims</cx:pt>
          <cx:pt idx="4116">Reims</cx:pt>
          <cx:pt idx="4117">Reims</cx:pt>
          <cx:pt idx="4118">Reims</cx:pt>
          <cx:pt idx="4119">Reims</cx:pt>
          <cx:pt idx="4120">Reims</cx:pt>
          <cx:pt idx="4121">Reims</cx:pt>
          <cx:pt idx="4122">Reims</cx:pt>
          <cx:pt idx="4123">Reims</cx:pt>
          <cx:pt idx="4124">Reims</cx:pt>
          <cx:pt idx="4125">Reims</cx:pt>
          <cx:pt idx="4126">Reims</cx:pt>
          <cx:pt idx="4127">Reims</cx:pt>
          <cx:pt idx="4128">Reims</cx:pt>
          <cx:pt idx="4129">Reims</cx:pt>
          <cx:pt idx="4130">Reims</cx:pt>
          <cx:pt idx="4131">Reims</cx:pt>
          <cx:pt idx="4132">Reims</cx:pt>
          <cx:pt idx="4133">Reims</cx:pt>
          <cx:pt idx="4134">Reims</cx:pt>
          <cx:pt idx="4135">Reims</cx:pt>
          <cx:pt idx="4136">Reims</cx:pt>
          <cx:pt idx="4137">Reims</cx:pt>
          <cx:pt idx="4138">Reims</cx:pt>
          <cx:pt idx="4139">Reims</cx:pt>
          <cx:pt idx="4140">Cergy</cx:pt>
          <cx:pt idx="4141">Cergy</cx:pt>
          <cx:pt idx="4142">Reims</cx:pt>
          <cx:pt idx="4143">Reims</cx:pt>
          <cx:pt idx="4144">Reims</cx:pt>
          <cx:pt idx="4145">Reims</cx:pt>
          <cx:pt idx="4146">Cergy</cx:pt>
          <cx:pt idx="4147">Cergy</cx:pt>
          <cx:pt idx="4148">Cergy</cx:pt>
          <cx:pt idx="4149">Cergy</cx:pt>
          <cx:pt idx="4150">Cergy</cx:pt>
          <cx:pt idx="4151">Cergy</cx:pt>
          <cx:pt idx="4152">Cergy</cx:pt>
          <cx:pt idx="4153">Cergy</cx:pt>
          <cx:pt idx="4154">Cergy</cx:pt>
          <cx:pt idx="4155">Cergy</cx:pt>
          <cx:pt idx="4156">Cergy</cx:pt>
          <cx:pt idx="4157">Cergy</cx:pt>
          <cx:pt idx="4158">Cergy</cx:pt>
          <cx:pt idx="4159">Cergy</cx:pt>
          <cx:pt idx="4160">Cergy</cx:pt>
          <cx:pt idx="4161">Cergy</cx:pt>
          <cx:pt idx="4162">Cergy</cx:pt>
          <cx:pt idx="4163">Cergy</cx:pt>
          <cx:pt idx="4164">Avignon</cx:pt>
          <cx:pt idx="4165">Avignon</cx:pt>
          <cx:pt idx="4166">Avignon</cx:pt>
          <cx:pt idx="4167">Avignon</cx:pt>
          <cx:pt idx="4168">Cergy</cx:pt>
          <cx:pt idx="4169">Cergy</cx:pt>
          <cx:pt idx="4170">Cergy</cx:pt>
          <cx:pt idx="4171">Cergy</cx:pt>
          <cx:pt idx="4172">Cergy</cx:pt>
          <cx:pt idx="4173">Cergy</cx:pt>
          <cx:pt idx="4174">Reims</cx:pt>
          <cx:pt idx="4175">Cergy</cx:pt>
          <cx:pt idx="4176">Cergy</cx:pt>
          <cx:pt idx="4177">Cergy</cx:pt>
          <cx:pt idx="4178">Cergy</cx:pt>
          <cx:pt idx="4179">Avignon</cx:pt>
          <cx:pt idx="4180">Cergy</cx:pt>
          <cx:pt idx="4181">Avignon</cx:pt>
          <cx:pt idx="4182">Cergy</cx:pt>
          <cx:pt idx="4183">Cergy</cx:pt>
          <cx:pt idx="4184">Reims</cx:pt>
          <cx:pt idx="4185">Cergy</cx:pt>
          <cx:pt idx="4186">Cergy</cx:pt>
          <cx:pt idx="4187">Avignon</cx:pt>
          <cx:pt idx="4188">Cergy</cx:pt>
          <cx:pt idx="4189">Cergy</cx:pt>
          <cx:pt idx="4190">Avignon</cx:pt>
          <cx:pt idx="4191">Avignon</cx:pt>
          <cx:pt idx="4192">Avignon</cx:pt>
          <cx:pt idx="4193">Avignon</cx:pt>
          <cx:pt idx="4194">Avignon</cx:pt>
          <cx:pt idx="4195">Cergy</cx:pt>
          <cx:pt idx="4196">Cergy</cx:pt>
          <cx:pt idx="4197">Cergy</cx:pt>
          <cx:pt idx="4198">Cergy</cx:pt>
          <cx:pt idx="4199">Cergy</cx:pt>
          <cx:pt idx="4200">Avignon</cx:pt>
          <cx:pt idx="4201">Avignon</cx:pt>
          <cx:pt idx="4202">Avignon</cx:pt>
          <cx:pt idx="4203">Avignon</cx:pt>
          <cx:pt idx="4204">Avignon</cx:pt>
          <cx:pt idx="4205">Avignon</cx:pt>
          <cx:pt idx="4206">Avignon</cx:pt>
          <cx:pt idx="4207">Avignon</cx:pt>
          <cx:pt idx="4208">Avignon</cx:pt>
          <cx:pt idx="4209">Avignon</cx:pt>
          <cx:pt idx="4210">Cergy</cx:pt>
          <cx:pt idx="4211">Avignon</cx:pt>
          <cx:pt idx="4212">Cergy</cx:pt>
          <cx:pt idx="4213">Avignon</cx:pt>
          <cx:pt idx="4214">Cergy</cx:pt>
          <cx:pt idx="4215">Cergy</cx:pt>
          <cx:pt idx="4216">Cergy</cx:pt>
          <cx:pt idx="4217">Cergy</cx:pt>
          <cx:pt idx="4218">Cergy</cx:pt>
          <cx:pt idx="4219">Cergy</cx:pt>
          <cx:pt idx="4220">Cergy</cx:pt>
          <cx:pt idx="4221">Cergy</cx:pt>
          <cx:pt idx="4222">Cergy</cx:pt>
          <cx:pt idx="4223">Cergy</cx:pt>
          <cx:pt idx="4224">Cergy</cx:pt>
          <cx:pt idx="4225">Cergy</cx:pt>
          <cx:pt idx="4226">Cergy</cx:pt>
          <cx:pt idx="4227">Cergy</cx:pt>
          <cx:pt idx="4228">Cergy</cx:pt>
          <cx:pt idx="4229">Cergy</cx:pt>
          <cx:pt idx="4230">Cergy</cx:pt>
          <cx:pt idx="4231">Cergy</cx:pt>
          <cx:pt idx="4232">Cergy</cx:pt>
          <cx:pt idx="4233">Cergy</cx:pt>
          <cx:pt idx="4234">Cergy</cx:pt>
          <cx:pt idx="4235">Cergy</cx:pt>
          <cx:pt idx="4236">Cergy</cx:pt>
          <cx:pt idx="4237">Cergy</cx:pt>
          <cx:pt idx="4238">Cergy</cx:pt>
          <cx:pt idx="4239">Reims</cx:pt>
          <cx:pt idx="4240">Cergy</cx:pt>
          <cx:pt idx="4241">Cergy</cx:pt>
          <cx:pt idx="4242">Avignon</cx:pt>
          <cx:pt idx="4243">Avignon</cx:pt>
          <cx:pt idx="4244">Avignon</cx:pt>
          <cx:pt idx="4245">Avignon</cx:pt>
          <cx:pt idx="4246">Avignon</cx:pt>
          <cx:pt idx="4247">Avignon</cx:pt>
          <cx:pt idx="4248">Avignon</cx:pt>
          <cx:pt idx="4249">Avignon</cx:pt>
          <cx:pt idx="4250">Avignon</cx:pt>
          <cx:pt idx="4251">Avignon</cx:pt>
          <cx:pt idx="4252">Avignon</cx:pt>
          <cx:pt idx="4253">Avignon</cx:pt>
          <cx:pt idx="4254">Avignon</cx:pt>
          <cx:pt idx="4255">Avignon</cx:pt>
          <cx:pt idx="4256">Avignon</cx:pt>
          <cx:pt idx="4257">Avignon</cx:pt>
          <cx:pt idx="4258">Avignon</cx:pt>
          <cx:pt idx="4259">Avignon</cx:pt>
          <cx:pt idx="4260">Avignon</cx:pt>
          <cx:pt idx="4261">Avignon</cx:pt>
          <cx:pt idx="4262">Avignon</cx:pt>
          <cx:pt idx="4263">Avignon</cx:pt>
          <cx:pt idx="4264">Avignon</cx:pt>
          <cx:pt idx="4265">Avignon</cx:pt>
          <cx:pt idx="4266">Avignon</cx:pt>
          <cx:pt idx="4267">Avignon</cx:pt>
          <cx:pt idx="4268">Avignon</cx:pt>
          <cx:pt idx="4269">Avignon</cx:pt>
          <cx:pt idx="4270">Avignon</cx:pt>
          <cx:pt idx="4271">Avignon</cx:pt>
          <cx:pt idx="4272">Avignon</cx:pt>
          <cx:pt idx="4273">Avignon</cx:pt>
          <cx:pt idx="4274">Avignon</cx:pt>
          <cx:pt idx="4275">Clermont-Ferrand</cx:pt>
          <cx:pt idx="4276">Clermont-Ferrand</cx:pt>
          <cx:pt idx="4277">Avignon</cx:pt>
          <cx:pt idx="4278">Avignon</cx:pt>
          <cx:pt idx="4279">Clermont-Ferrand</cx:pt>
          <cx:pt idx="4280">Clermont-Ferrand</cx:pt>
          <cx:pt idx="4281">Clermont-Ferrand</cx:pt>
          <cx:pt idx="4282">Cergy</cx:pt>
          <cx:pt idx="4283">Cergy</cx:pt>
          <cx:pt idx="4284">Cergy</cx:pt>
          <cx:pt idx="4285">Cergy</cx:pt>
          <cx:pt idx="4286">Cergy</cx:pt>
          <cx:pt idx="4287">Clermont-Ferrand</cx:pt>
          <cx:pt idx="4288">Clermont-Ferrand</cx:pt>
          <cx:pt idx="4289">Clermont-Ferrand</cx:pt>
          <cx:pt idx="4290">Clermont-Ferrand</cx:pt>
          <cx:pt idx="4291">Clermont-Ferrand</cx:pt>
          <cx:pt idx="4292">Clermont-Ferrand</cx:pt>
          <cx:pt idx="4293">Clermont-Ferrand</cx:pt>
          <cx:pt idx="4294">Clermont-Ferrand</cx:pt>
          <cx:pt idx="4295">Clermont-Ferrand</cx:pt>
          <cx:pt idx="4296">Clermont-Ferrand</cx:pt>
          <cx:pt idx="4297">Cergy</cx:pt>
          <cx:pt idx="4298">Cergy</cx:pt>
          <cx:pt idx="4299">Avignon</cx:pt>
          <cx:pt idx="4300">Avignon</cx:pt>
          <cx:pt idx="4301">Avignon</cx:pt>
          <cx:pt idx="4302">Avignon</cx:pt>
          <cx:pt idx="4303">Avignon</cx:pt>
          <cx:pt idx="4304">Avignon</cx:pt>
          <cx:pt idx="4305">Avignon</cx:pt>
          <cx:pt idx="4306">Avignon</cx:pt>
          <cx:pt idx="4307">Avignon</cx:pt>
          <cx:pt idx="4308">Avignon</cx:pt>
          <cx:pt idx="4309">Avignon</cx:pt>
          <cx:pt idx="4310">Avignon</cx:pt>
          <cx:pt idx="4311">Avignon</cx:pt>
          <cx:pt idx="4312">Avignon</cx:pt>
          <cx:pt idx="4313">Avignon</cx:pt>
          <cx:pt idx="4314">Cergy</cx:pt>
          <cx:pt idx="4315">Cergy</cx:pt>
          <cx:pt idx="4316">Cergy</cx:pt>
          <cx:pt idx="4317">Cergy</cx:pt>
          <cx:pt idx="4318">Cergy</cx:pt>
          <cx:pt idx="4319">Cergy</cx:pt>
          <cx:pt idx="4320">Cergy</cx:pt>
          <cx:pt idx="4321">Cergy</cx:pt>
          <cx:pt idx="4322">Cergy</cx:pt>
          <cx:pt idx="4323">Cergy</cx:pt>
          <cx:pt idx="4324">Cergy</cx:pt>
          <cx:pt idx="4325">Avignon</cx:pt>
          <cx:pt idx="4326">Cergy</cx:pt>
          <cx:pt idx="4327">Avignon</cx:pt>
          <cx:pt idx="4328">Avignon</cx:pt>
          <cx:pt idx="4329">Cergy</cx:pt>
          <cx:pt idx="4330">Avignon</cx:pt>
          <cx:pt idx="4331">Avignon</cx:pt>
          <cx:pt idx="4332">Avignon</cx:pt>
          <cx:pt idx="4333">Avignon</cx:pt>
          <cx:pt idx="4334">Avignon</cx:pt>
          <cx:pt idx="4335">Avignon</cx:pt>
          <cx:pt idx="4336">Avignon</cx:pt>
          <cx:pt idx="4337">Avignon</cx:pt>
          <cx:pt idx="4338">Avignon</cx:pt>
          <cx:pt idx="4339">Avignon</cx:pt>
          <cx:pt idx="4340">Avignon</cx:pt>
          <cx:pt idx="4341">Avignon</cx:pt>
          <cx:pt idx="4342">Avignon</cx:pt>
          <cx:pt idx="4343">Avignon</cx:pt>
          <cx:pt idx="4344">Avignon</cx:pt>
          <cx:pt idx="4345">Avignon</cx:pt>
          <cx:pt idx="4346">Avignon</cx:pt>
          <cx:pt idx="4347">Avignon</cx:pt>
          <cx:pt idx="4348">Avignon</cx:pt>
          <cx:pt idx="4349">Avignon</cx:pt>
          <cx:pt idx="4350">Avignon</cx:pt>
          <cx:pt idx="4351">Avignon</cx:pt>
          <cx:pt idx="4352">Avignon</cx:pt>
          <cx:pt idx="4353">Avignon</cx:pt>
          <cx:pt idx="4354">Avignon</cx:pt>
          <cx:pt idx="4355">Avignon</cx:pt>
          <cx:pt idx="4356">Avignon</cx:pt>
          <cx:pt idx="4357">Avignon</cx:pt>
          <cx:pt idx="4358">Avignon</cx:pt>
          <cx:pt idx="4359">Avignon</cx:pt>
          <cx:pt idx="4360">Avignon</cx:pt>
          <cx:pt idx="4361">Avignon</cx:pt>
          <cx:pt idx="4362">Avignon</cx:pt>
          <cx:pt idx="4363">Avignon</cx:pt>
          <cx:pt idx="4364">Avignon</cx:pt>
          <cx:pt idx="4365">Avignon</cx:pt>
          <cx:pt idx="4366">Avignon</cx:pt>
          <cx:pt idx="4367">Avignon</cx:pt>
          <cx:pt idx="4368">Avignon</cx:pt>
          <cx:pt idx="4369">Avignon</cx:pt>
          <cx:pt idx="4370">Avignon</cx:pt>
          <cx:pt idx="4371">Avignon</cx:pt>
          <cx:pt idx="4372">Reims</cx:pt>
          <cx:pt idx="4373">Cergy</cx:pt>
          <cx:pt idx="4374">Cergy</cx:pt>
          <cx:pt idx="4375">Clermont-Ferrand</cx:pt>
          <cx:pt idx="4376">Clermont-Ferrand</cx:pt>
          <cx:pt idx="4377">Clermont-Ferrand</cx:pt>
          <cx:pt idx="4378">Clermont-Ferrand</cx:pt>
          <cx:pt idx="4379">Clermont-Ferrand</cx:pt>
          <cx:pt idx="4380">Clermont-Ferrand</cx:pt>
          <cx:pt idx="4381">Clermont-Ferrand</cx:pt>
          <cx:pt idx="4382">Clermont-Ferrand</cx:pt>
          <cx:pt idx="4383">Clermont-Ferrand</cx:pt>
          <cx:pt idx="4384">Clermont-Ferrand</cx:pt>
          <cx:pt idx="4385">Clermont-Ferrand</cx:pt>
          <cx:pt idx="4386">Clermont-Ferrand</cx:pt>
          <cx:pt idx="4387">Clermont-Ferrand</cx:pt>
          <cx:pt idx="4388">Clermont-Ferrand</cx:pt>
          <cx:pt idx="4389">Clermont-Ferrand</cx:pt>
          <cx:pt idx="4390">Clermont-Ferrand</cx:pt>
          <cx:pt idx="4391">Clermont-Ferrand</cx:pt>
          <cx:pt idx="4392">Clermont-Ferrand</cx:pt>
          <cx:pt idx="4393">Clermont-Ferrand</cx:pt>
          <cx:pt idx="4394">Clermont-Ferrand</cx:pt>
          <cx:pt idx="4395">Clermont-Ferrand</cx:pt>
          <cx:pt idx="4396">Clermont-Ferrand</cx:pt>
          <cx:pt idx="4397">Clermont-Ferrand</cx:pt>
          <cx:pt idx="4398">Clermont-Ferrand</cx:pt>
          <cx:pt idx="4399">Clermont-Ferrand</cx:pt>
          <cx:pt idx="4400">Clermont-Ferrand</cx:pt>
          <cx:pt idx="4401">Clermont-Ferrand</cx:pt>
          <cx:pt idx="4402">Clermont-Ferrand</cx:pt>
          <cx:pt idx="4403">Clermont-Ferrand</cx:pt>
          <cx:pt idx="4404">Clermont-Ferrand</cx:pt>
          <cx:pt idx="4405">Clermont-Ferrand</cx:pt>
          <cx:pt idx="4406">Clermont-Ferrand</cx:pt>
          <cx:pt idx="4407">Clermont-Ferrand</cx:pt>
          <cx:pt idx="4408">Clermont-Ferrand</cx:pt>
          <cx:pt idx="4409">Clermont-Ferrand</cx:pt>
          <cx:pt idx="4410">Clermont-Ferrand</cx:pt>
          <cx:pt idx="4411">Clermont-Ferrand</cx:pt>
          <cx:pt idx="4412">Clermont-Ferrand</cx:pt>
          <cx:pt idx="4413">Clermont-Ferrand</cx:pt>
          <cx:pt idx="4414">Clermont-Ferrand</cx:pt>
          <cx:pt idx="4415">Clermont-Ferrand</cx:pt>
          <cx:pt idx="4416">Clermont-Ferrand</cx:pt>
          <cx:pt idx="4417">Clermont-Ferrand</cx:pt>
          <cx:pt idx="4418">Avignon</cx:pt>
          <cx:pt idx="4419">Avignon</cx:pt>
          <cx:pt idx="4420">Avignon</cx:pt>
          <cx:pt idx="4421">Avignon</cx:pt>
          <cx:pt idx="4422">Avignon</cx:pt>
          <cx:pt idx="4423">Avignon</cx:pt>
          <cx:pt idx="4424">Avignon</cx:pt>
          <cx:pt idx="4425">Avignon</cx:pt>
          <cx:pt idx="4426">Avignon</cx:pt>
          <cx:pt idx="4427">Avignon</cx:pt>
          <cx:pt idx="4428">Avignon</cx:pt>
          <cx:pt idx="4429">Cergy</cx:pt>
          <cx:pt idx="4430">Reims</cx:pt>
          <cx:pt idx="4431">Avignon</cx:pt>
          <cx:pt idx="4432">Avignon</cx:pt>
          <cx:pt idx="4433">Avignon</cx:pt>
          <cx:pt idx="4434">Avignon</cx:pt>
          <cx:pt idx="4435">Avignon</cx:pt>
          <cx:pt idx="4436">Avignon</cx:pt>
          <cx:pt idx="4437">Avignon</cx:pt>
          <cx:pt idx="4438">Avignon</cx:pt>
          <cx:pt idx="4439">Avignon</cx:pt>
          <cx:pt idx="4440">Avignon</cx:pt>
          <cx:pt idx="4441">Avignon</cx:pt>
          <cx:pt idx="4442">Avignon</cx:pt>
          <cx:pt idx="4443">Reims</cx:pt>
          <cx:pt idx="4444">Avignon</cx:pt>
          <cx:pt idx="4445">Cergy</cx:pt>
          <cx:pt idx="4446">Avignon</cx:pt>
          <cx:pt idx="4447">Cergy</cx:pt>
          <cx:pt idx="4448">Cergy</cx:pt>
          <cx:pt idx="4449">Cergy</cx:pt>
          <cx:pt idx="4450">Cergy</cx:pt>
          <cx:pt idx="4451">Cergy</cx:pt>
          <cx:pt idx="4452">Cergy</cx:pt>
          <cx:pt idx="4453">Cergy</cx:pt>
          <cx:pt idx="4454">Cergy</cx:pt>
          <cx:pt idx="4455">Cergy</cx:pt>
          <cx:pt idx="4456">Cergy</cx:pt>
          <cx:pt idx="4457">Cergy</cx:pt>
          <cx:pt idx="4458">Cergy</cx:pt>
          <cx:pt idx="4459">Cergy</cx:pt>
          <cx:pt idx="4460">Cergy</cx:pt>
          <cx:pt idx="4461">Cergy</cx:pt>
          <cx:pt idx="4462">Avignon</cx:pt>
          <cx:pt idx="4463">Avignon</cx:pt>
          <cx:pt idx="4464">Avignon</cx:pt>
          <cx:pt idx="4465">Cergy</cx:pt>
          <cx:pt idx="4466">Cergy</cx:pt>
          <cx:pt idx="4467">Cergy</cx:pt>
          <cx:pt idx="4468">Cergy</cx:pt>
          <cx:pt idx="4469">Cergy</cx:pt>
          <cx:pt idx="4470">Cergy</cx:pt>
          <cx:pt idx="4471">Cergy</cx:pt>
          <cx:pt idx="4472">Cergy</cx:pt>
          <cx:pt idx="4473">Cergy</cx:pt>
          <cx:pt idx="4474">Cergy</cx:pt>
          <cx:pt idx="4475">Cergy</cx:pt>
          <cx:pt idx="4476">Cergy</cx:pt>
          <cx:pt idx="4477">Cergy</cx:pt>
          <cx:pt idx="4478">Cergy</cx:pt>
          <cx:pt idx="4479">Cergy</cx:pt>
          <cx:pt idx="4480">Cergy</cx:pt>
          <cx:pt idx="4481">Cergy</cx:pt>
          <cx:pt idx="4482">Cergy</cx:pt>
          <cx:pt idx="4483">Cergy</cx:pt>
          <cx:pt idx="4484">Cergy</cx:pt>
          <cx:pt idx="4485">Cergy</cx:pt>
          <cx:pt idx="4486">Cergy</cx:pt>
          <cx:pt idx="4487">Cergy</cx:pt>
          <cx:pt idx="4488">Cergy</cx:pt>
          <cx:pt idx="4489">Cergy</cx:pt>
          <cx:pt idx="4490">Cergy</cx:pt>
          <cx:pt idx="4491">Cergy</cx:pt>
          <cx:pt idx="4492">Cergy</cx:pt>
          <cx:pt idx="4493">Cergy</cx:pt>
          <cx:pt idx="4494">Avignon</cx:pt>
          <cx:pt idx="4495">Cergy</cx:pt>
          <cx:pt idx="4496">Cergy</cx:pt>
          <cx:pt idx="4497">Clermont-Ferrand</cx:pt>
          <cx:pt idx="4498">Clermont-Ferrand</cx:pt>
          <cx:pt idx="4499">Clermont-Ferrand</cx:pt>
          <cx:pt idx="4500">Clermont-Ferrand</cx:pt>
          <cx:pt idx="4501">Clermont-Ferrand</cx:pt>
          <cx:pt idx="4502">Clermont-Ferrand</cx:pt>
          <cx:pt idx="4503">Clermont-Ferrand</cx:pt>
          <cx:pt idx="4504">Clermont-Ferrand</cx:pt>
          <cx:pt idx="4505">Clermont-Ferrand</cx:pt>
          <cx:pt idx="4506">Clermont-Ferrand</cx:pt>
          <cx:pt idx="4507">Clermont-Ferrand</cx:pt>
          <cx:pt idx="4508">Clermont-Ferrand</cx:pt>
          <cx:pt idx="4509">Clermont-Ferrand</cx:pt>
          <cx:pt idx="4510">Clermont-Ferrand</cx:pt>
          <cx:pt idx="4511">Clermont-Ferrand</cx:pt>
          <cx:pt idx="4512">Clermont-Ferrand</cx:pt>
          <cx:pt idx="4513">Clermont-Ferrand</cx:pt>
          <cx:pt idx="4514">Clermont-Ferrand</cx:pt>
          <cx:pt idx="4515">Clermont-Ferrand</cx:pt>
          <cx:pt idx="4516">Clermont-Ferrand</cx:pt>
          <cx:pt idx="4517">Clermont-Ferrand</cx:pt>
          <cx:pt idx="4518">Clermont-Ferrand</cx:pt>
          <cx:pt idx="4519">Clermont-Ferrand</cx:pt>
          <cx:pt idx="4520">Clermont-Ferrand</cx:pt>
          <cx:pt idx="4521">Clermont-Ferrand</cx:pt>
          <cx:pt idx="4522">Clermont-Ferrand</cx:pt>
          <cx:pt idx="4523">Clermont-Ferrand</cx:pt>
          <cx:pt idx="4524">Clermont-Ferrand</cx:pt>
          <cx:pt idx="4525">Clermont-Ferrand</cx:pt>
          <cx:pt idx="4526">Clermont-Ferrand</cx:pt>
          <cx:pt idx="4527">Clermont-Ferrand</cx:pt>
          <cx:pt idx="4528">Clermont-Ferrand</cx:pt>
          <cx:pt idx="4529">Clermont-Ferrand</cx:pt>
          <cx:pt idx="4530">Clermont-Ferrand</cx:pt>
          <cx:pt idx="4531">Clermont-Ferrand</cx:pt>
          <cx:pt idx="4532">Clermont-Ferrand</cx:pt>
          <cx:pt idx="4533">Clermont-Ferrand</cx:pt>
          <cx:pt idx="4534">Clermont-Ferrand</cx:pt>
          <cx:pt idx="4535">Clermont-Ferrand</cx:pt>
          <cx:pt idx="4536">Clermont-Ferrand</cx:pt>
          <cx:pt idx="4537">Clermont-Ferrand</cx:pt>
          <cx:pt idx="4538">Clermont-Ferrand</cx:pt>
          <cx:pt idx="4539">Avignon</cx:pt>
          <cx:pt idx="4540">Avignon</cx:pt>
          <cx:pt idx="4541">Avignon</cx:pt>
          <cx:pt idx="4542">Cergy</cx:pt>
          <cx:pt idx="4543">Avignon</cx:pt>
          <cx:pt idx="4544">Avignon</cx:pt>
          <cx:pt idx="4545">Avignon</cx:pt>
          <cx:pt idx="4546">Avignon</cx:pt>
          <cx:pt idx="4547">Avignon</cx:pt>
          <cx:pt idx="4548">Avignon</cx:pt>
          <cx:pt idx="4549">Avignon</cx:pt>
          <cx:pt idx="4550">Avignon</cx:pt>
          <cx:pt idx="4551">Avignon</cx:pt>
          <cx:pt idx="4552">Cergy</cx:pt>
          <cx:pt idx="4553">Cergy</cx:pt>
          <cx:pt idx="4554">Cergy</cx:pt>
          <cx:pt idx="4555">Cergy</cx:pt>
          <cx:pt idx="4556">Cergy</cx:pt>
          <cx:pt idx="4557">Cergy</cx:pt>
          <cx:pt idx="4558">Cergy</cx:pt>
          <cx:pt idx="4559">Cergy</cx:pt>
          <cx:pt idx="4560">Cergy</cx:pt>
          <cx:pt idx="4561">Cergy</cx:pt>
          <cx:pt idx="4562">Cergy</cx:pt>
          <cx:pt idx="4563">Cergy</cx:pt>
          <cx:pt idx="4564">Cergy</cx:pt>
          <cx:pt idx="4565">Cergy</cx:pt>
          <cx:pt idx="4566">Avignon</cx:pt>
          <cx:pt idx="4567">Avignon</cx:pt>
          <cx:pt idx="4568">Avignon</cx:pt>
          <cx:pt idx="4569">Cergy</cx:pt>
          <cx:pt idx="4570">Cergy</cx:pt>
          <cx:pt idx="4571">Cergy</cx:pt>
          <cx:pt idx="4572">Cergy</cx:pt>
          <cx:pt idx="4573">Cergy</cx:pt>
          <cx:pt idx="4574">Cergy</cx:pt>
          <cx:pt idx="4575">Cergy</cx:pt>
          <cx:pt idx="4576">Cergy</cx:pt>
          <cx:pt idx="4577">Cergy</cx:pt>
          <cx:pt idx="4578">Cergy</cx:pt>
          <cx:pt idx="4579">Cergy</cx:pt>
          <cx:pt idx="4580">Cergy</cx:pt>
          <cx:pt idx="4581">Cergy</cx:pt>
          <cx:pt idx="4582">Cergy</cx:pt>
          <cx:pt idx="4583">Cergy</cx:pt>
          <cx:pt idx="4584">Cergy</cx:pt>
          <cx:pt idx="4585">Cergy</cx:pt>
          <cx:pt idx="4586">Cergy</cx:pt>
          <cx:pt idx="4587">Cergy</cx:pt>
          <cx:pt idx="4588">Cergy</cx:pt>
          <cx:pt idx="4589">Cergy</cx:pt>
          <cx:pt idx="4590">Cergy</cx:pt>
          <cx:pt idx="4591">Cergy</cx:pt>
          <cx:pt idx="4592">Cergy</cx:pt>
          <cx:pt idx="4593">Avignon</cx:pt>
          <cx:pt idx="4594">Cergy</cx:pt>
          <cx:pt idx="4595">Cergy</cx:pt>
          <cx:pt idx="4596">Cergy</cx:pt>
          <cx:pt idx="4597">Cergy</cx:pt>
          <cx:pt idx="4598">Cergy</cx:pt>
          <cx:pt idx="4599">Cergy</cx:pt>
          <cx:pt idx="4600">Cergy</cx:pt>
          <cx:pt idx="4601">Cergy</cx:pt>
          <cx:pt idx="4602">Cergy</cx:pt>
          <cx:pt idx="4603">Cergy</cx:pt>
          <cx:pt idx="4604">Cergy</cx:pt>
          <cx:pt idx="4605">Cergy</cx:pt>
          <cx:pt idx="4606">Cergy</cx:pt>
          <cx:pt idx="4607">Cergy</cx:pt>
          <cx:pt idx="4608">Avignon</cx:pt>
          <cx:pt idx="4609">Avignon</cx:pt>
          <cx:pt idx="4610">Avignon</cx:pt>
          <cx:pt idx="4611">Avignon</cx:pt>
          <cx:pt idx="4612">Cergy</cx:pt>
          <cx:pt idx="4613">Cergy</cx:pt>
          <cx:pt idx="4614">Clermont-Ferrand</cx:pt>
          <cx:pt idx="4615">Clermont-Ferrand</cx:pt>
          <cx:pt idx="4616">Avignon</cx:pt>
          <cx:pt idx="4617">Avignon</cx:pt>
          <cx:pt idx="4618">Reims</cx:pt>
          <cx:pt idx="4619">Cergy</cx:pt>
          <cx:pt idx="4620">Cergy</cx:pt>
          <cx:pt idx="4621">Avignon</cx:pt>
          <cx:pt idx="4622">Cergy</cx:pt>
          <cx:pt idx="4623">Cergy</cx:pt>
          <cx:pt idx="4624">Cergy</cx:pt>
          <cx:pt idx="4625">Cergy</cx:pt>
          <cx:pt idx="4626">Cergy</cx:pt>
          <cx:pt idx="4627">Cergy</cx:pt>
          <cx:pt idx="4628">Cergy</cx:pt>
          <cx:pt idx="4629">Cergy</cx:pt>
          <cx:pt idx="4630">Cergy</cx:pt>
          <cx:pt idx="4631">Cergy</cx:pt>
          <cx:pt idx="4632">Cergy</cx:pt>
          <cx:pt idx="4633">Cergy</cx:pt>
          <cx:pt idx="4634">Cergy</cx:pt>
          <cx:pt idx="4635">Cergy</cx:pt>
          <cx:pt idx="4636">Cergy</cx:pt>
          <cx:pt idx="4637">Cergy</cx:pt>
          <cx:pt idx="4638">Cergy</cx:pt>
          <cx:pt idx="4639">Cergy</cx:pt>
          <cx:pt idx="4640">Cergy</cx:pt>
          <cx:pt idx="4641">Avignon</cx:pt>
          <cx:pt idx="4642">Avignon</cx:pt>
          <cx:pt idx="4643">Montauban</cx:pt>
          <cx:pt idx="4644">Montauban</cx:pt>
          <cx:pt idx="4645">Montauban</cx:pt>
          <cx:pt idx="4646">Montauban</cx:pt>
          <cx:pt idx="4647">Montauban</cx:pt>
          <cx:pt idx="4648">Montauban</cx:pt>
          <cx:pt idx="4649">Montauban</cx:pt>
          <cx:pt idx="4650">Cergy</cx:pt>
          <cx:pt idx="4651">Cergy</cx:pt>
          <cx:pt idx="4652">Avignon</cx:pt>
          <cx:pt idx="4653">Avignon</cx:pt>
          <cx:pt idx="4654">Cergy</cx:pt>
          <cx:pt idx="4655">Avignon</cx:pt>
          <cx:pt idx="4656">Avignon</cx:pt>
          <cx:pt idx="4657">Avignon</cx:pt>
          <cx:pt idx="4658">Avignon</cx:pt>
          <cx:pt idx="4659">Avignon</cx:pt>
          <cx:pt idx="4660">Avignon</cx:pt>
          <cx:pt idx="4661">Avignon</cx:pt>
          <cx:pt idx="4662">Avignon</cx:pt>
          <cx:pt idx="4663">Avignon</cx:pt>
          <cx:pt idx="4664">Avignon</cx:pt>
          <cx:pt idx="4665">Avignon</cx:pt>
          <cx:pt idx="4666">Avignon</cx:pt>
          <cx:pt idx="4667">Avignon</cx:pt>
          <cx:pt idx="4668">Avignon</cx:pt>
          <cx:pt idx="4669">Avignon</cx:pt>
          <cx:pt idx="4670">Avignon</cx:pt>
          <cx:pt idx="4671">Avignon</cx:pt>
          <cx:pt idx="4672">Avignon</cx:pt>
          <cx:pt idx="4673">Avignon</cx:pt>
          <cx:pt idx="4674">Avignon</cx:pt>
          <cx:pt idx="4675">Avignon</cx:pt>
          <cx:pt idx="4676">Avignon</cx:pt>
          <cx:pt idx="4677">Avignon</cx:pt>
          <cx:pt idx="4678">Avignon</cx:pt>
          <cx:pt idx="4679">Avignon</cx:pt>
          <cx:pt idx="4680">Avignon</cx:pt>
          <cx:pt idx="4681">Avignon</cx:pt>
          <cx:pt idx="4682">Avignon</cx:pt>
          <cx:pt idx="4683">Avignon</cx:pt>
          <cx:pt idx="4684">Avignon</cx:pt>
          <cx:pt idx="4685">Avignon</cx:pt>
          <cx:pt idx="4686">Avignon</cx:pt>
          <cx:pt idx="4687">Avignon</cx:pt>
          <cx:pt idx="4688">Avignon</cx:pt>
          <cx:pt idx="4689">Avignon</cx:pt>
          <cx:pt idx="4690">Avignon</cx:pt>
          <cx:pt idx="4691">Avignon</cx:pt>
          <cx:pt idx="4692">Avignon</cx:pt>
          <cx:pt idx="4693">Avignon</cx:pt>
          <cx:pt idx="4694">Avignon</cx:pt>
          <cx:pt idx="4695">Avignon</cx:pt>
          <cx:pt idx="4696">Avignon</cx:pt>
          <cx:pt idx="4697">Avignon</cx:pt>
          <cx:pt idx="4698">Avignon</cx:pt>
          <cx:pt idx="4699">Avignon</cx:pt>
          <cx:pt idx="4700">Avignon</cx:pt>
          <cx:pt idx="4701">Avignon</cx:pt>
          <cx:pt idx="4702">Avignon</cx:pt>
          <cx:pt idx="4703">Avignon</cx:pt>
          <cx:pt idx="4704">Cergy</cx:pt>
          <cx:pt idx="4705">Cergy</cx:pt>
          <cx:pt idx="4706">Cergy</cx:pt>
          <cx:pt idx="4707">Cergy</cx:pt>
          <cx:pt idx="4708">Reims</cx:pt>
          <cx:pt idx="4709">Reims</cx:pt>
          <cx:pt idx="4710">Reims</cx:pt>
          <cx:pt idx="4711">Reims</cx:pt>
          <cx:pt idx="4712">Reims</cx:pt>
          <cx:pt idx="4713">Reims</cx:pt>
          <cx:pt idx="4714">Reims</cx:pt>
          <cx:pt idx="4715">Avignon</cx:pt>
          <cx:pt idx="4716">Cergy</cx:pt>
          <cx:pt idx="4717">Cergy</cx:pt>
          <cx:pt idx="4718">Cergy</cx:pt>
          <cx:pt idx="4719">Cergy</cx:pt>
          <cx:pt idx="4720">Cergy</cx:pt>
          <cx:pt idx="4721">Cergy</cx:pt>
          <cx:pt idx="4722">Cergy</cx:pt>
          <cx:pt idx="4723">Cergy</cx:pt>
          <cx:pt idx="4724">Cergy</cx:pt>
          <cx:pt idx="4725">Cergy</cx:pt>
          <cx:pt idx="4726">Cergy</cx:pt>
          <cx:pt idx="4727">Cergy</cx:pt>
          <cx:pt idx="4728">Cergy</cx:pt>
          <cx:pt idx="4729">Cergy</cx:pt>
          <cx:pt idx="4730">Cergy</cx:pt>
          <cx:pt idx="4731">Cergy</cx:pt>
          <cx:pt idx="4732">Cergy</cx:pt>
          <cx:pt idx="4733">Cergy</cx:pt>
          <cx:pt idx="4734">Cergy</cx:pt>
          <cx:pt idx="4735">Cergy</cx:pt>
          <cx:pt idx="4736">Avignon</cx:pt>
          <cx:pt idx="4737">Cergy</cx:pt>
          <cx:pt idx="4738">Cergy</cx:pt>
          <cx:pt idx="4739">Avignon</cx:pt>
          <cx:pt idx="4740">Avignon</cx:pt>
          <cx:pt idx="4741">Avignon</cx:pt>
          <cx:pt idx="4742">Avignon</cx:pt>
          <cx:pt idx="4743">Avignon</cx:pt>
          <cx:pt idx="4744">Avignon</cx:pt>
          <cx:pt idx="4745">Avignon</cx:pt>
          <cx:pt idx="4746">Cergy</cx:pt>
          <cx:pt idx="4747">Cergy</cx:pt>
          <cx:pt idx="4748">Cergy</cx:pt>
          <cx:pt idx="4749">Cergy</cx:pt>
          <cx:pt idx="4750">Cergy</cx:pt>
          <cx:pt idx="4751">Cergy</cx:pt>
          <cx:pt idx="4752">Cergy</cx:pt>
          <cx:pt idx="4753">Cergy</cx:pt>
          <cx:pt idx="4754">Cergy</cx:pt>
          <cx:pt idx="4755">Cergy</cx:pt>
          <cx:pt idx="4756">Cergy</cx:pt>
          <cx:pt idx="4757">Cergy</cx:pt>
          <cx:pt idx="4758">Cergy</cx:pt>
          <cx:pt idx="4759">Cergy</cx:pt>
          <cx:pt idx="4760">Cergy</cx:pt>
          <cx:pt idx="4761">Cergy</cx:pt>
          <cx:pt idx="4762">Cergy</cx:pt>
          <cx:pt idx="4763">Cergy</cx:pt>
          <cx:pt idx="4764">Cergy</cx:pt>
          <cx:pt idx="4765">Cergy</cx:pt>
          <cx:pt idx="4766">Cergy</cx:pt>
          <cx:pt idx="4767">Cergy</cx:pt>
          <cx:pt idx="4768">Cergy</cx:pt>
          <cx:pt idx="4769">Cergy</cx:pt>
          <cx:pt idx="4770">Cergy</cx:pt>
          <cx:pt idx="4771">Cergy</cx:pt>
          <cx:pt idx="4772">Cergy</cx:pt>
          <cx:pt idx="4773">Cergy</cx:pt>
          <cx:pt idx="4774">Cergy</cx:pt>
          <cx:pt idx="4775">Cergy</cx:pt>
          <cx:pt idx="4776">Cergy</cx:pt>
          <cx:pt idx="4777">Cergy</cx:pt>
          <cx:pt idx="4778">Cergy</cx:pt>
          <cx:pt idx="4779">Cergy</cx:pt>
          <cx:pt idx="4780">Cergy</cx:pt>
          <cx:pt idx="4781">Cergy</cx:pt>
          <cx:pt idx="4782">Avignon</cx:pt>
          <cx:pt idx="4783">Cergy</cx:pt>
          <cx:pt idx="4784">Cergy</cx:pt>
          <cx:pt idx="4785">Cergy</cx:pt>
          <cx:pt idx="4786">Cergy</cx:pt>
          <cx:pt idx="4787">Cergy</cx:pt>
          <cx:pt idx="4788">Avignon</cx:pt>
          <cx:pt idx="4789">Cergy</cx:pt>
          <cx:pt idx="4790">Cergy</cx:pt>
          <cx:pt idx="4791">Cergy</cx:pt>
          <cx:pt idx="4792">Cergy</cx:pt>
          <cx:pt idx="4793">Cergy</cx:pt>
          <cx:pt idx="4794">Cergy</cx:pt>
          <cx:pt idx="4795">Cergy</cx:pt>
          <cx:pt idx="4796">Cergy</cx:pt>
          <cx:pt idx="4797">Cergy</cx:pt>
          <cx:pt idx="4798">Cergy</cx:pt>
          <cx:pt idx="4799">Cergy</cx:pt>
          <cx:pt idx="4800">Clermont-Ferrand</cx:pt>
          <cx:pt idx="4801">Clermont-Ferrand</cx:pt>
          <cx:pt idx="4802">Clermont-Ferrand</cx:pt>
          <cx:pt idx="4803">Cergy</cx:pt>
          <cx:pt idx="4804">Cergy</cx:pt>
          <cx:pt idx="4805">Cergy</cx:pt>
          <cx:pt idx="4806">Cergy</cx:pt>
          <cx:pt idx="4807">Cergy</cx:pt>
          <cx:pt idx="4808">Cergy</cx:pt>
          <cx:pt idx="4809">Cergy</cx:pt>
          <cx:pt idx="4810">Cergy</cx:pt>
          <cx:pt idx="4811">Cergy</cx:pt>
          <cx:pt idx="4812">Cergy</cx:pt>
          <cx:pt idx="4813">Cergy</cx:pt>
          <cx:pt idx="4814">Cergy</cx:pt>
          <cx:pt idx="4815">Avignon</cx:pt>
          <cx:pt idx="4816">Cergy</cx:pt>
          <cx:pt idx="4817">Cergy</cx:pt>
          <cx:pt idx="4818">Cergy</cx:pt>
          <cx:pt idx="4819">Cergy</cx:pt>
          <cx:pt idx="4820">Cergy</cx:pt>
          <cx:pt idx="4821">Avignon</cx:pt>
          <cx:pt idx="4822">Cergy</cx:pt>
          <cx:pt idx="4823">Cergy</cx:pt>
          <cx:pt idx="4824">Cergy</cx:pt>
          <cx:pt idx="4825">Cergy</cx:pt>
          <cx:pt idx="4826">Cergy</cx:pt>
          <cx:pt idx="4827">Cergy</cx:pt>
          <cx:pt idx="4828">Cergy</cx:pt>
          <cx:pt idx="4829">Cergy</cx:pt>
          <cx:pt idx="4830">Cergy</cx:pt>
          <cx:pt idx="4831">Avignon</cx:pt>
          <cx:pt idx="4832">Avignon</cx:pt>
          <cx:pt idx="4833">Avignon</cx:pt>
          <cx:pt idx="4834">Avignon</cx:pt>
          <cx:pt idx="4835">Avignon</cx:pt>
          <cx:pt idx="4836">Cergy</cx:pt>
          <cx:pt idx="4837">Avignon</cx:pt>
          <cx:pt idx="4838">Avignon</cx:pt>
          <cx:pt idx="4839">Cergy</cx:pt>
          <cx:pt idx="4840">Cergy</cx:pt>
          <cx:pt idx="4841">Cergy</cx:pt>
          <cx:pt idx="4842">Cergy</cx:pt>
          <cx:pt idx="4843">Cergy</cx:pt>
          <cx:pt idx="4844">Cergy</cx:pt>
          <cx:pt idx="4845">Cergy</cx:pt>
          <cx:pt idx="4846">Cergy</cx:pt>
          <cx:pt idx="4847">Cergy</cx:pt>
          <cx:pt idx="4848">Cergy</cx:pt>
          <cx:pt idx="4849">Cergy</cx:pt>
          <cx:pt idx="4850">Cergy</cx:pt>
          <cx:pt idx="4851">Cergy</cx:pt>
          <cx:pt idx="4852">Cergy</cx:pt>
          <cx:pt idx="4853">Cergy</cx:pt>
          <cx:pt idx="4854">Cergy</cx:pt>
          <cx:pt idx="4855">Cergy</cx:pt>
          <cx:pt idx="4856">Cergy</cx:pt>
          <cx:pt idx="4857">Cergy</cx:pt>
          <cx:pt idx="4858">Cergy</cx:pt>
          <cx:pt idx="4859">Clermont-Ferrand</cx:pt>
          <cx:pt idx="4860">Clermont-Ferrand</cx:pt>
          <cx:pt idx="4861">Clermont-Ferrand</cx:pt>
          <cx:pt idx="4862">Clermont-Ferrand</cx:pt>
          <cx:pt idx="4863">Avignon</cx:pt>
          <cx:pt idx="4864">Cergy</cx:pt>
          <cx:pt idx="4865">Cergy</cx:pt>
          <cx:pt idx="4866">Cergy</cx:pt>
          <cx:pt idx="4867">Cergy</cx:pt>
          <cx:pt idx="4868">Reims</cx:pt>
          <cx:pt idx="4869">Cergy</cx:pt>
          <cx:pt idx="4870">Cergy</cx:pt>
          <cx:pt idx="4871">Cergy</cx:pt>
          <cx:pt idx="4872">Cergy</cx:pt>
          <cx:pt idx="4873">Cergy</cx:pt>
          <cx:pt idx="4874">Avignon</cx:pt>
          <cx:pt idx="4875">Avignon</cx:pt>
          <cx:pt idx="4876">Cergy</cx:pt>
          <cx:pt idx="4877">Cergy</cx:pt>
          <cx:pt idx="4878">Avignon</cx:pt>
          <cx:pt idx="4879">Cergy</cx:pt>
          <cx:pt idx="4880">Cergy</cx:pt>
          <cx:pt idx="4881">Cergy</cx:pt>
          <cx:pt idx="4882">Cergy</cx:pt>
          <cx:pt idx="4883">Avignon</cx:pt>
          <cx:pt idx="4884">Cergy</cx:pt>
          <cx:pt idx="4885">Cergy</cx:pt>
          <cx:pt idx="4886">Cergy</cx:pt>
          <cx:pt idx="4887">Cergy</cx:pt>
          <cx:pt idx="4888">Cergy</cx:pt>
          <cx:pt idx="4889">Cergy</cx:pt>
          <cx:pt idx="4890">Cergy</cx:pt>
          <cx:pt idx="4891">Cergy</cx:pt>
          <cx:pt idx="4892">Cergy</cx:pt>
          <cx:pt idx="4893">Cergy</cx:pt>
          <cx:pt idx="4894">Cergy</cx:pt>
          <cx:pt idx="4895">Avignon</cx:pt>
          <cx:pt idx="4896">Avignon</cx:pt>
          <cx:pt idx="4897">Reims</cx:pt>
          <cx:pt idx="4898">Cergy</cx:pt>
          <cx:pt idx="4899">Cergy</cx:pt>
          <cx:pt idx="4900">Cergy</cx:pt>
          <cx:pt idx="4901">Cergy</cx:pt>
          <cx:pt idx="4902">Cergy</cx:pt>
          <cx:pt idx="4903">Cergy</cx:pt>
          <cx:pt idx="4904">Cergy</cx:pt>
          <cx:pt idx="4905">Cergy</cx:pt>
          <cx:pt idx="4906">Cergy</cx:pt>
          <cx:pt idx="4907">Cergy</cx:pt>
          <cx:pt idx="4908">Cergy</cx:pt>
          <cx:pt idx="4909">Cergy</cx:pt>
          <cx:pt idx="4910">Cergy</cx:pt>
          <cx:pt idx="4911">Cergy</cx:pt>
          <cx:pt idx="4912">Cergy</cx:pt>
          <cx:pt idx="4913">Cergy</cx:pt>
          <cx:pt idx="4914">Cergy</cx:pt>
          <cx:pt idx="4915">Cergy</cx:pt>
          <cx:pt idx="4916">Cergy</cx:pt>
          <cx:pt idx="4917">Clermont-Ferrand</cx:pt>
          <cx:pt idx="4918">Clermont-Ferrand</cx:pt>
          <cx:pt idx="4919">Clermont-Ferrand</cx:pt>
          <cx:pt idx="4920">Clermont-Ferrand</cx:pt>
          <cx:pt idx="4921">Clermont-Ferrand</cx:pt>
          <cx:pt idx="4922">Cergy</cx:pt>
          <cx:pt idx="4923">Cergy</cx:pt>
          <cx:pt idx="4924">Cergy</cx:pt>
          <cx:pt idx="4925">Cergy</cx:pt>
          <cx:pt idx="4926">Cergy</cx:pt>
          <cx:pt idx="4927">Cergy</cx:pt>
          <cx:pt idx="4928">Cergy</cx:pt>
          <cx:pt idx="4929">Clermont-Ferrand</cx:pt>
          <cx:pt idx="4930">Clermont-Ferrand</cx:pt>
          <cx:pt idx="4931">Clermont-Ferrand</cx:pt>
          <cx:pt idx="4932">Clermont-Ferrand</cx:pt>
          <cx:pt idx="4933">Clermont-Ferrand</cx:pt>
          <cx:pt idx="4934">Clermont-Ferrand</cx:pt>
          <cx:pt idx="4935">Clermont-Ferrand</cx:pt>
          <cx:pt idx="4936">Clermont-Ferrand</cx:pt>
          <cx:pt idx="4937">Clermont-Ferrand</cx:pt>
          <cx:pt idx="4938">Cergy</cx:pt>
          <cx:pt idx="4939">Cergy</cx:pt>
          <cx:pt idx="4940">Cergy</cx:pt>
          <cx:pt idx="4941">Cergy</cx:pt>
          <cx:pt idx="4942">Avignon</cx:pt>
          <cx:pt idx="4943">Cergy</cx:pt>
          <cx:pt idx="4944">Cergy</cx:pt>
          <cx:pt idx="4945">Cergy</cx:pt>
          <cx:pt idx="4946">Cergy</cx:pt>
          <cx:pt idx="4947">Cergy</cx:pt>
          <cx:pt idx="4948">Cergy</cx:pt>
          <cx:pt idx="4949">Cergy</cx:pt>
          <cx:pt idx="4950">Cergy</cx:pt>
          <cx:pt idx="4951">Cergy</cx:pt>
          <cx:pt idx="4952">Cergy</cx:pt>
          <cx:pt idx="4953">Avignon</cx:pt>
          <cx:pt idx="4954">Avignon</cx:pt>
          <cx:pt idx="4955">Avignon</cx:pt>
          <cx:pt idx="4956">Avignon</cx:pt>
          <cx:pt idx="4957">Avignon</cx:pt>
          <cx:pt idx="4958">Avignon</cx:pt>
          <cx:pt idx="4959">Avignon</cx:pt>
          <cx:pt idx="4960">Avignon</cx:pt>
          <cx:pt idx="4961">Avignon</cx:pt>
          <cx:pt idx="4962">Cergy</cx:pt>
          <cx:pt idx="4963">Cergy</cx:pt>
          <cx:pt idx="4964">Cergy</cx:pt>
          <cx:pt idx="4965">Cergy</cx:pt>
          <cx:pt idx="4966">Cergy</cx:pt>
          <cx:pt idx="4967">Cergy</cx:pt>
          <cx:pt idx="4968">Clermont-Ferrand</cx:pt>
          <cx:pt idx="4969">Clermont-Ferrand</cx:pt>
          <cx:pt idx="4970">Clermont-Ferrand</cx:pt>
          <cx:pt idx="4971">Clermont-Ferrand</cx:pt>
          <cx:pt idx="4972">Clermont-Ferrand</cx:pt>
          <cx:pt idx="4973">Clermont-Ferrand</cx:pt>
          <cx:pt idx="4974">Clermont-Ferrand</cx:pt>
          <cx:pt idx="4975">Clermont-Ferrand</cx:pt>
          <cx:pt idx="4976">Clermont-Ferrand</cx:pt>
          <cx:pt idx="4977">Clermont-Ferrand</cx:pt>
          <cx:pt idx="4978">Clermont-Ferrand</cx:pt>
          <cx:pt idx="4979">Clermont-Ferrand</cx:pt>
          <cx:pt idx="4980">Clermont-Ferrand</cx:pt>
          <cx:pt idx="4981">Clermont-Ferrand</cx:pt>
          <cx:pt idx="4982">Clermont-Ferrand</cx:pt>
          <cx:pt idx="4983">Clermont-Ferrand</cx:pt>
          <cx:pt idx="4984">Clermont-Ferrand</cx:pt>
          <cx:pt idx="4985">Cergy</cx:pt>
          <cx:pt idx="4986">Cergy</cx:pt>
          <cx:pt idx="4987">Cergy</cx:pt>
          <cx:pt idx="4988">Cergy</cx:pt>
          <cx:pt idx="4989">Cergy</cx:pt>
          <cx:pt idx="4990">Cergy</cx:pt>
          <cx:pt idx="4991">Cergy</cx:pt>
          <cx:pt idx="4992">Cergy</cx:pt>
          <cx:pt idx="4993">Reims</cx:pt>
          <cx:pt idx="4994">Reims</cx:pt>
          <cx:pt idx="4995">Reims</cx:pt>
          <cx:pt idx="4996">Avignon</cx:pt>
          <cx:pt idx="4997">Avignon</cx:pt>
          <cx:pt idx="4998">Clermont-Ferrand</cx:pt>
          <cx:pt idx="4999">Clermont-Ferrand</cx:pt>
          <cx:pt idx="5000">Cergy</cx:pt>
          <cx:pt idx="5001">Cergy</cx:pt>
          <cx:pt idx="5002">Cergy</cx:pt>
          <cx:pt idx="5003">Reims</cx:pt>
          <cx:pt idx="5004">Reims</cx:pt>
          <cx:pt idx="5005">Reims</cx:pt>
          <cx:pt idx="5006">Reims</cx:pt>
          <cx:pt idx="5007">Reims</cx:pt>
          <cx:pt idx="5008">Reims</cx:pt>
          <cx:pt idx="5009">Reims</cx:pt>
          <cx:pt idx="5010">Reims</cx:pt>
          <cx:pt idx="5011">Reims</cx:pt>
          <cx:pt idx="5012">Reims</cx:pt>
          <cx:pt idx="5013">Reims</cx:pt>
          <cx:pt idx="5014">Reims</cx:pt>
          <cx:pt idx="5015">Reims</cx:pt>
          <cx:pt idx="5016">Reims</cx:pt>
          <cx:pt idx="5017">Cergy</cx:pt>
          <cx:pt idx="5018">Cergy</cx:pt>
          <cx:pt idx="5019">Cergy</cx:pt>
          <cx:pt idx="5020">Cergy</cx:pt>
          <cx:pt idx="5021">Avignon</cx:pt>
          <cx:pt idx="5022">Avignon</cx:pt>
          <cx:pt idx="5023">Clermont-Ferrand</cx:pt>
          <cx:pt idx="5024">Clermont-Ferrand</cx:pt>
          <cx:pt idx="5025">Clermont-Ferrand</cx:pt>
          <cx:pt idx="5026">Clermont-Ferrand</cx:pt>
          <cx:pt idx="5027">Clermont-Ferrand</cx:pt>
          <cx:pt idx="5028">Clermont-Ferrand</cx:pt>
          <cx:pt idx="5029">Clermont-Ferrand</cx:pt>
          <cx:pt idx="5030">Clermont-Ferrand</cx:pt>
          <cx:pt idx="5031">Clermont-Ferrand</cx:pt>
          <cx:pt idx="5032">Clermont-Ferrand</cx:pt>
          <cx:pt idx="5033">Clermont-Ferrand</cx:pt>
          <cx:pt idx="5034">Clermont-Ferrand</cx:pt>
          <cx:pt idx="5035">Clermont-Ferrand</cx:pt>
          <cx:pt idx="5036">Clermont-Ferrand</cx:pt>
          <cx:pt idx="5037">Clermont-Ferrand</cx:pt>
          <cx:pt idx="5038">Clermont-Ferrand</cx:pt>
          <cx:pt idx="5039">Clermont-Ferrand</cx:pt>
          <cx:pt idx="5040">Clermont-Ferrand</cx:pt>
          <cx:pt idx="5041">Clermont-Ferrand</cx:pt>
          <cx:pt idx="5042">Clermont-Ferrand</cx:pt>
          <cx:pt idx="5043">Clermont-Ferrand</cx:pt>
          <cx:pt idx="5044">Clermont-Ferrand</cx:pt>
          <cx:pt idx="5045">Clermont-Ferrand</cx:pt>
          <cx:pt idx="5046">Clermont-Ferrand</cx:pt>
          <cx:pt idx="5047">Avignon</cx:pt>
          <cx:pt idx="5048">Avignon</cx:pt>
          <cx:pt idx="5049">Avignon</cx:pt>
          <cx:pt idx="5050">Avignon</cx:pt>
          <cx:pt idx="5051">Avignon</cx:pt>
          <cx:pt idx="5052">Avignon</cx:pt>
          <cx:pt idx="5053">Avignon</cx:pt>
          <cx:pt idx="5054">Avignon</cx:pt>
          <cx:pt idx="5055">Avignon</cx:pt>
          <cx:pt idx="5056">Avignon</cx:pt>
          <cx:pt idx="5057">Avignon</cx:pt>
          <cx:pt idx="5058">Avignon</cx:pt>
          <cx:pt idx="5059">Avignon</cx:pt>
          <cx:pt idx="5060">Avignon</cx:pt>
          <cx:pt idx="5061">Cergy</cx:pt>
          <cx:pt idx="5062">Cergy</cx:pt>
          <cx:pt idx="5063">Cergy</cx:pt>
          <cx:pt idx="5064">Cergy</cx:pt>
          <cx:pt idx="5065">Cergy</cx:pt>
          <cx:pt idx="5066">Cergy</cx:pt>
          <cx:pt idx="5067">Cergy</cx:pt>
          <cx:pt idx="5068">Cergy</cx:pt>
          <cx:pt idx="5069">Cergy</cx:pt>
          <cx:pt idx="5070">Cergy</cx:pt>
          <cx:pt idx="5071">Cergy</cx:pt>
          <cx:pt idx="5072">Cergy</cx:pt>
          <cx:pt idx="5073">Cergy</cx:pt>
          <cx:pt idx="5074">Cergy</cx:pt>
          <cx:pt idx="5075">Cergy</cx:pt>
          <cx:pt idx="5076">Cergy</cx:pt>
          <cx:pt idx="5077">Cergy</cx:pt>
          <cx:pt idx="5078">Cergy</cx:pt>
          <cx:pt idx="5079">Cergy</cx:pt>
          <cx:pt idx="5080">Cergy</cx:pt>
          <cx:pt idx="5081">Cergy</cx:pt>
          <cx:pt idx="5082">Avignon</cx:pt>
          <cx:pt idx="5083">Avignon</cx:pt>
          <cx:pt idx="5084">Avignon</cx:pt>
          <cx:pt idx="5085">Avignon</cx:pt>
          <cx:pt idx="5086">Avignon</cx:pt>
          <cx:pt idx="5087">Avignon</cx:pt>
          <cx:pt idx="5088">Avignon</cx:pt>
          <cx:pt idx="5089">Avignon</cx:pt>
          <cx:pt idx="5090">Avignon</cx:pt>
          <cx:pt idx="5091">Avignon</cx:pt>
          <cx:pt idx="5092">Avignon</cx:pt>
          <cx:pt idx="5093">Avignon</cx:pt>
          <cx:pt idx="5094">Avignon</cx:pt>
          <cx:pt idx="5095">Avignon</cx:pt>
          <cx:pt idx="5096">Cergy</cx:pt>
          <cx:pt idx="5097">Cergy</cx:pt>
          <cx:pt idx="5098">Avignon</cx:pt>
          <cx:pt idx="5099">Avignon</cx:pt>
          <cx:pt idx="5100">Cergy</cx:pt>
          <cx:pt idx="5101">Cergy</cx:pt>
          <cx:pt idx="5102">Cergy</cx:pt>
          <cx:pt idx="5103">Cergy</cx:pt>
          <cx:pt idx="5104">Cergy</cx:pt>
          <cx:pt idx="5105">Cergy</cx:pt>
          <cx:pt idx="5106">Cergy</cx:pt>
          <cx:pt idx="5107">Cergy</cx:pt>
          <cx:pt idx="5108">Cergy</cx:pt>
          <cx:pt idx="5109">Cergy</cx:pt>
          <cx:pt idx="5110">Cergy</cx:pt>
          <cx:pt idx="5111">Cergy</cx:pt>
          <cx:pt idx="5112">Cergy</cx:pt>
          <cx:pt idx="5113">Cergy</cx:pt>
          <cx:pt idx="5114">Cergy</cx:pt>
          <cx:pt idx="5115">Cergy</cx:pt>
          <cx:pt idx="5116">Cergy</cx:pt>
          <cx:pt idx="5117">Cergy</cx:pt>
          <cx:pt idx="5118">Avignon</cx:pt>
          <cx:pt idx="5119">Cergy</cx:pt>
          <cx:pt idx="5120">Cergy</cx:pt>
          <cx:pt idx="5121">Avignon</cx:pt>
          <cx:pt idx="5122">Avignon</cx:pt>
          <cx:pt idx="5123">Avignon</cx:pt>
          <cx:pt idx="5124">Cergy</cx:pt>
          <cx:pt idx="5125">Cergy</cx:pt>
          <cx:pt idx="5126">Cergy</cx:pt>
          <cx:pt idx="5127">Cergy</cx:pt>
          <cx:pt idx="5128">Cergy</cx:pt>
          <cx:pt idx="5129">Cergy</cx:pt>
          <cx:pt idx="5130">Clermont-Ferrand</cx:pt>
          <cx:pt idx="5131">Avignon</cx:pt>
          <cx:pt idx="5132">Avignon</cx:pt>
          <cx:pt idx="5133">Avignon</cx:pt>
          <cx:pt idx="5134">Avignon</cx:pt>
          <cx:pt idx="5135">Avignon</cx:pt>
          <cx:pt idx="5136">Avignon</cx:pt>
          <cx:pt idx="5137">Avignon</cx:pt>
          <cx:pt idx="5138">Avignon</cx:pt>
          <cx:pt idx="5139">Avignon</cx:pt>
          <cx:pt idx="5140">Avignon</cx:pt>
          <cx:pt idx="5141">Avignon</cx:pt>
          <cx:pt idx="5142">Avignon</cx:pt>
          <cx:pt idx="5143">Avignon</cx:pt>
          <cx:pt idx="5144">Avignon</cx:pt>
          <cx:pt idx="5145">Cergy</cx:pt>
          <cx:pt idx="5146">Cergy</cx:pt>
          <cx:pt idx="5147">Cergy</cx:pt>
          <cx:pt idx="5148">Cergy</cx:pt>
          <cx:pt idx="5149">Cergy</cx:pt>
          <cx:pt idx="5150">Cergy</cx:pt>
          <cx:pt idx="5151">Cergy</cx:pt>
          <cx:pt idx="5152">Cergy</cx:pt>
          <cx:pt idx="5153">Cergy</cx:pt>
          <cx:pt idx="5154">Cergy</cx:pt>
          <cx:pt idx="5155">Cergy</cx:pt>
          <cx:pt idx="5156">Cergy</cx:pt>
          <cx:pt idx="5157">Clermont-Ferrand</cx:pt>
          <cx:pt idx="5158">Clermont-Ferrand</cx:pt>
          <cx:pt idx="5159">Clermont-Ferrand</cx:pt>
          <cx:pt idx="5160">Clermont-Ferrand</cx:pt>
          <cx:pt idx="5161">Clermont-Ferrand</cx:pt>
          <cx:pt idx="5162">Clermont-Ferrand</cx:pt>
          <cx:pt idx="5163">Clermont-Ferrand</cx:pt>
          <cx:pt idx="5164">Clermont-Ferrand</cx:pt>
          <cx:pt idx="5165">Clermont-Ferrand</cx:pt>
          <cx:pt idx="5166">Clermont-Ferrand</cx:pt>
          <cx:pt idx="5167">Clermont-Ferrand</cx:pt>
          <cx:pt idx="5168">Clermont-Ferrand</cx:pt>
          <cx:pt idx="5169">Clermont-Ferrand</cx:pt>
          <cx:pt idx="5170">Clermont-Ferrand</cx:pt>
          <cx:pt idx="5171">Cergy</cx:pt>
          <cx:pt idx="5172">Cergy</cx:pt>
          <cx:pt idx="5173">Cergy</cx:pt>
          <cx:pt idx="5174">Cergy</cx:pt>
          <cx:pt idx="5175">Cergy</cx:pt>
          <cx:pt idx="5176">Cergy</cx:pt>
          <cx:pt idx="5177">Cergy</cx:pt>
          <cx:pt idx="5178">Cergy</cx:pt>
          <cx:pt idx="5179">Cergy</cx:pt>
          <cx:pt idx="5180">Cergy</cx:pt>
          <cx:pt idx="5181">Cergy</cx:pt>
          <cx:pt idx="5182">Cergy</cx:pt>
          <cx:pt idx="5183">Cergy</cx:pt>
          <cx:pt idx="5184">Cergy</cx:pt>
          <cx:pt idx="5185">Cergy</cx:pt>
          <cx:pt idx="5186">Cergy</cx:pt>
          <cx:pt idx="5187">Cergy</cx:pt>
          <cx:pt idx="5188">Cergy</cx:pt>
          <cx:pt idx="5189">Cergy</cx:pt>
          <cx:pt idx="5190">Cergy</cx:pt>
          <cx:pt idx="5191">Cergy</cx:pt>
          <cx:pt idx="5192">Cergy</cx:pt>
          <cx:pt idx="5193">Cergy</cx:pt>
          <cx:pt idx="5194">Cergy</cx:pt>
          <cx:pt idx="5195">Cergy</cx:pt>
          <cx:pt idx="5196">Cergy</cx:pt>
          <cx:pt idx="5197">Cergy</cx:pt>
          <cx:pt idx="5198">Cergy</cx:pt>
          <cx:pt idx="5199">Cergy</cx:pt>
          <cx:pt idx="5200">Cergy</cx:pt>
          <cx:pt idx="5201">Cergy</cx:pt>
          <cx:pt idx="5202">Cergy</cx:pt>
          <cx:pt idx="5203">Avignon</cx:pt>
          <cx:pt idx="5204">Avignon</cx:pt>
          <cx:pt idx="5205">Avignon</cx:pt>
          <cx:pt idx="5206">Avignon</cx:pt>
          <cx:pt idx="5207">Avignon</cx:pt>
          <cx:pt idx="5208">Avignon</cx:pt>
          <cx:pt idx="5209">Avignon</cx:pt>
          <cx:pt idx="5210">Avignon</cx:pt>
          <cx:pt idx="5211">Avignon</cx:pt>
          <cx:pt idx="5212">Avignon</cx:pt>
          <cx:pt idx="5213">Avignon</cx:pt>
          <cx:pt idx="5214">Avignon</cx:pt>
          <cx:pt idx="5215">Avignon</cx:pt>
          <cx:pt idx="5216">Avignon</cx:pt>
          <cx:pt idx="5217">Avignon</cx:pt>
          <cx:pt idx="5218">Avignon</cx:pt>
          <cx:pt idx="5219">Avignon</cx:pt>
          <cx:pt idx="5220">Avignon</cx:pt>
          <cx:pt idx="5221">Avignon</cx:pt>
          <cx:pt idx="5222">Avignon</cx:pt>
          <cx:pt idx="5223">Cergy</cx:pt>
          <cx:pt idx="5224">Cergy</cx:pt>
          <cx:pt idx="5225">Cergy</cx:pt>
          <cx:pt idx="5226">Cergy</cx:pt>
          <cx:pt idx="5227">Cergy</cx:pt>
          <cx:pt idx="5228">Cergy</cx:pt>
          <cx:pt idx="5229">Cergy</cx:pt>
          <cx:pt idx="5230">Cergy</cx:pt>
          <cx:pt idx="5231">Cergy</cx:pt>
          <cx:pt idx="5232">Cergy</cx:pt>
          <cx:pt idx="5233">Cergy</cx:pt>
          <cx:pt idx="5234">Cergy</cx:pt>
          <cx:pt idx="5235">Cergy</cx:pt>
          <cx:pt idx="5236">Cergy</cx:pt>
          <cx:pt idx="5237">Cergy</cx:pt>
          <cx:pt idx="5238">Cergy</cx:pt>
          <cx:pt idx="5239">Cergy</cx:pt>
          <cx:pt idx="5240">Cergy</cx:pt>
          <cx:pt idx="5241">Cergy</cx:pt>
          <cx:pt idx="5242">Cergy</cx:pt>
          <cx:pt idx="5243">Cergy</cx:pt>
          <cx:pt idx="5244">Cergy</cx:pt>
          <cx:pt idx="5245">Cergy</cx:pt>
          <cx:pt idx="5246">Cergy</cx:pt>
          <cx:pt idx="5247">Cergy</cx:pt>
          <cx:pt idx="5248">Cergy</cx:pt>
          <cx:pt idx="5249">Cergy</cx:pt>
          <cx:pt idx="5250">Cergy</cx:pt>
          <cx:pt idx="5251">Cergy</cx:pt>
          <cx:pt idx="5252">Cergy</cx:pt>
          <cx:pt idx="5253">Cergy</cx:pt>
          <cx:pt idx="5254">Cergy</cx:pt>
          <cx:pt idx="5255">Cergy</cx:pt>
          <cx:pt idx="5256">Cergy</cx:pt>
          <cx:pt idx="5257">Cergy</cx:pt>
          <cx:pt idx="5258">Cergy</cx:pt>
          <cx:pt idx="5259">Cergy</cx:pt>
          <cx:pt idx="5260">Cergy</cx:pt>
          <cx:pt idx="5261">Cergy</cx:pt>
          <cx:pt idx="5262">Cergy</cx:pt>
          <cx:pt idx="5263">Cergy</cx:pt>
          <cx:pt idx="5264">Cergy</cx:pt>
          <cx:pt idx="5265">Cergy</cx:pt>
          <cx:pt idx="5266">Cergy</cx:pt>
          <cx:pt idx="5267">Cergy</cx:pt>
          <cx:pt idx="5268">Cergy</cx:pt>
          <cx:pt idx="5269">Cergy</cx:pt>
          <cx:pt idx="5270">Cergy</cx:pt>
          <cx:pt idx="5271">Cergy</cx:pt>
          <cx:pt idx="5272">Cergy</cx:pt>
          <cx:pt idx="5273">Cergy</cx:pt>
          <cx:pt idx="5274">Cergy</cx:pt>
          <cx:pt idx="5275">Cergy</cx:pt>
          <cx:pt idx="5276">Cergy</cx:pt>
          <cx:pt idx="5277">Cergy</cx:pt>
          <cx:pt idx="5278">Cergy</cx:pt>
          <cx:pt idx="5279">Cergy</cx:pt>
          <cx:pt idx="5280">Cergy</cx:pt>
          <cx:pt idx="5281">Cergy</cx:pt>
          <cx:pt idx="5282">Cergy</cx:pt>
          <cx:pt idx="5283">Avignon</cx:pt>
          <cx:pt idx="5284">Cergy</cx:pt>
          <cx:pt idx="5285">Cergy</cx:pt>
          <cx:pt idx="5286">Cergy</cx:pt>
          <cx:pt idx="5287">Clermont-Ferrand</cx:pt>
          <cx:pt idx="5288">Clermont-Ferrand</cx:pt>
          <cx:pt idx="5289">Clermont-Ferrand</cx:pt>
          <cx:pt idx="5290">Clermont-Ferrand</cx:pt>
          <cx:pt idx="5291">Clermont-Ferrand</cx:pt>
          <cx:pt idx="5292">Clermont-Ferrand</cx:pt>
          <cx:pt idx="5293">Clermont-Ferrand</cx:pt>
          <cx:pt idx="5294">Clermont-Ferrand</cx:pt>
          <cx:pt idx="5295">Clermont-Ferrand</cx:pt>
          <cx:pt idx="5296">Clermont-Ferrand</cx:pt>
          <cx:pt idx="5297">Clermont-Ferrand</cx:pt>
          <cx:pt idx="5298">Clermont-Ferrand</cx:pt>
          <cx:pt idx="5299">Clermont-Ferrand</cx:pt>
          <cx:pt idx="5300">Clermont-Ferrand</cx:pt>
          <cx:pt idx="5301">Clermont-Ferrand</cx:pt>
          <cx:pt idx="5302">Clermont-Ferrand</cx:pt>
          <cx:pt idx="5303">Clermont-Ferrand</cx:pt>
          <cx:pt idx="5304">Clermont-Ferrand</cx:pt>
          <cx:pt idx="5305">Clermont-Ferrand</cx:pt>
          <cx:pt idx="5306">Clermont-Ferrand</cx:pt>
          <cx:pt idx="5307">Clermont-Ferrand</cx:pt>
          <cx:pt idx="5308">Clermont-Ferrand</cx:pt>
          <cx:pt idx="5309">Clermont-Ferrand</cx:pt>
          <cx:pt idx="5310">Clermont-Ferrand</cx:pt>
          <cx:pt idx="5311">Clermont-Ferrand</cx:pt>
          <cx:pt idx="5312">Clermont-Ferrand</cx:pt>
          <cx:pt idx="5313">Clermont-Ferrand</cx:pt>
          <cx:pt idx="5314">Clermont-Ferrand</cx:pt>
          <cx:pt idx="5315">Clermont-Ferrand</cx:pt>
          <cx:pt idx="5316">Clermont-Ferrand</cx:pt>
          <cx:pt idx="5317">Clermont-Ferrand</cx:pt>
          <cx:pt idx="5318">Clermont-Ferrand</cx:pt>
          <cx:pt idx="5319">Clermont-Ferrand</cx:pt>
          <cx:pt idx="5320">Clermont-Ferrand</cx:pt>
          <cx:pt idx="5321">Clermont-Ferrand</cx:pt>
          <cx:pt idx="5322">Cergy</cx:pt>
          <cx:pt idx="5323">Cergy</cx:pt>
          <cx:pt idx="5324">Cergy</cx:pt>
          <cx:pt idx="5325">Cergy</cx:pt>
          <cx:pt idx="5326">Cergy</cx:pt>
          <cx:pt idx="5327">Cergy</cx:pt>
          <cx:pt idx="5328">Cergy</cx:pt>
          <cx:pt idx="5329">Cergy</cx:pt>
          <cx:pt idx="5330">Cergy</cx:pt>
          <cx:pt idx="5331">Cergy</cx:pt>
          <cx:pt idx="5332">Avignon</cx:pt>
          <cx:pt idx="5333">Avignon</cx:pt>
          <cx:pt idx="5334">Avignon</cx:pt>
          <cx:pt idx="5335">Avignon</cx:pt>
          <cx:pt idx="5336">Avignon</cx:pt>
          <cx:pt idx="5337">Clermont-Ferrand</cx:pt>
          <cx:pt idx="5338">Clermont-Ferrand</cx:pt>
          <cx:pt idx="5339">Clermont-Ferrand</cx:pt>
          <cx:pt idx="5340">Clermont-Ferrand</cx:pt>
          <cx:pt idx="5341">Clermont-Ferrand</cx:pt>
          <cx:pt idx="5342">Clermont-Ferrand</cx:pt>
          <cx:pt idx="5343">Clermont-Ferrand</cx:pt>
          <cx:pt idx="5344">Clermont-Ferrand</cx:pt>
          <cx:pt idx="5345">Clermont-Ferrand</cx:pt>
          <cx:pt idx="5346">Clermont-Ferrand</cx:pt>
          <cx:pt idx="5347">Clermont-Ferrand</cx:pt>
          <cx:pt idx="5348">Clermont-Ferrand</cx:pt>
          <cx:pt idx="5349">Clermont-Ferrand</cx:pt>
          <cx:pt idx="5350">Clermont-Ferrand</cx:pt>
          <cx:pt idx="5351">Clermont-Ferrand</cx:pt>
          <cx:pt idx="5352">Clermont-Ferrand</cx:pt>
          <cx:pt idx="5353">Clermont-Ferrand</cx:pt>
          <cx:pt idx="5354">Clermont-Ferrand</cx:pt>
          <cx:pt idx="5355">Cergy</cx:pt>
          <cx:pt idx="5356">Avignon</cx:pt>
          <cx:pt idx="5357">Clermont-Ferrand</cx:pt>
          <cx:pt idx="5358">Clermont-Ferrand</cx:pt>
          <cx:pt idx="5359">Clermont-Ferrand</cx:pt>
          <cx:pt idx="5360">Clermont-Ferrand</cx:pt>
          <cx:pt idx="5361">Cergy</cx:pt>
          <cx:pt idx="5362">Cergy</cx:pt>
          <cx:pt idx="5363">Avignon</cx:pt>
          <cx:pt idx="5364">Cergy</cx:pt>
          <cx:pt idx="5365">Cergy</cx:pt>
          <cx:pt idx="5366">Avignon</cx:pt>
          <cx:pt idx="5367">Avignon</cx:pt>
          <cx:pt idx="5368">Cergy</cx:pt>
          <cx:pt idx="5369">Avignon</cx:pt>
          <cx:pt idx="5370">Avignon</cx:pt>
          <cx:pt idx="5371">Avignon</cx:pt>
          <cx:pt idx="5372">Avignon</cx:pt>
          <cx:pt idx="5373">Avignon</cx:pt>
          <cx:pt idx="5374">Cergy</cx:pt>
          <cx:pt idx="5375">Cergy</cx:pt>
          <cx:pt idx="5376">Cergy</cx:pt>
          <cx:pt idx="5377">Cergy</cx:pt>
          <cx:pt idx="5378">Cergy</cx:pt>
          <cx:pt idx="5379">Cergy</cx:pt>
          <cx:pt idx="5380">Cergy</cx:pt>
          <cx:pt idx="5381">Cergy</cx:pt>
          <cx:pt idx="5382">Cergy</cx:pt>
          <cx:pt idx="5383">Cergy</cx:pt>
          <cx:pt idx="5384">Reims</cx:pt>
          <cx:pt idx="5385">Reims</cx:pt>
          <cx:pt idx="5386">Reims</cx:pt>
          <cx:pt idx="5387">Cergy</cx:pt>
          <cx:pt idx="5388">Avignon</cx:pt>
          <cx:pt idx="5389">Avignon</cx:pt>
          <cx:pt idx="5390">Cergy</cx:pt>
          <cx:pt idx="5391">Cergy</cx:pt>
          <cx:pt idx="5392">Cergy</cx:pt>
          <cx:pt idx="5393">Cergy</cx:pt>
          <cx:pt idx="5394">Cergy</cx:pt>
          <cx:pt idx="5395">Cergy</cx:pt>
          <cx:pt idx="5396">Cergy</cx:pt>
          <cx:pt idx="5397">Cergy</cx:pt>
          <cx:pt idx="5398">Cergy</cx:pt>
          <cx:pt idx="5399">Cergy</cx:pt>
          <cx:pt idx="5400">Cergy</cx:pt>
          <cx:pt idx="5401">Cergy</cx:pt>
          <cx:pt idx="5402">Cergy</cx:pt>
          <cx:pt idx="5403">Cergy</cx:pt>
          <cx:pt idx="5404">Cergy</cx:pt>
          <cx:pt idx="5405">Cergy</cx:pt>
          <cx:pt idx="5406">Cergy</cx:pt>
          <cx:pt idx="5407">Cergy</cx:pt>
          <cx:pt idx="5408">Cergy</cx:pt>
          <cx:pt idx="5409">Cergy</cx:pt>
          <cx:pt idx="5410">Cergy</cx:pt>
          <cx:pt idx="5411">Cergy</cx:pt>
          <cx:pt idx="5412">Cergy</cx:pt>
          <cx:pt idx="5413">Cergy</cx:pt>
          <cx:pt idx="5414">Cergy</cx:pt>
          <cx:pt idx="5415">Cergy</cx:pt>
          <cx:pt idx="5416">Cergy</cx:pt>
          <cx:pt idx="5417">Cergy</cx:pt>
          <cx:pt idx="5418">Cergy</cx:pt>
          <cx:pt idx="5419">Cergy</cx:pt>
          <cx:pt idx="5420">Cergy</cx:pt>
          <cx:pt idx="5421">Cergy</cx:pt>
          <cx:pt idx="5422">Cergy</cx:pt>
          <cx:pt idx="5423">Cergy</cx:pt>
          <cx:pt idx="5424">Cergy</cx:pt>
          <cx:pt idx="5425">Cergy</cx:pt>
          <cx:pt idx="5426">Cergy</cx:pt>
          <cx:pt idx="5427">Cergy</cx:pt>
          <cx:pt idx="5428">Avignon</cx:pt>
          <cx:pt idx="5429">Avignon</cx:pt>
          <cx:pt idx="5430">Avignon</cx:pt>
          <cx:pt idx="5431">Avignon</cx:pt>
          <cx:pt idx="5432">Avignon</cx:pt>
          <cx:pt idx="5433">Avignon</cx:pt>
          <cx:pt idx="5434">Avignon</cx:pt>
          <cx:pt idx="5435">Avignon</cx:pt>
          <cx:pt idx="5436">Avignon</cx:pt>
          <cx:pt idx="5437">Avignon</cx:pt>
          <cx:pt idx="5438">Avignon</cx:pt>
          <cx:pt idx="5439">Avignon</cx:pt>
          <cx:pt idx="5440">Avignon</cx:pt>
          <cx:pt idx="5441">Avignon</cx:pt>
          <cx:pt idx="5442">Avignon</cx:pt>
          <cx:pt idx="5443">Avignon</cx:pt>
          <cx:pt idx="5444">Avignon</cx:pt>
          <cx:pt idx="5445">Avignon</cx:pt>
          <cx:pt idx="5446">Avignon</cx:pt>
          <cx:pt idx="5447">Avignon</cx:pt>
          <cx:pt idx="5448">Avignon</cx:pt>
          <cx:pt idx="5449">Avignon</cx:pt>
          <cx:pt idx="5450">Avignon</cx:pt>
          <cx:pt idx="5451">Avignon</cx:pt>
          <cx:pt idx="5452">Avignon</cx:pt>
          <cx:pt idx="5453">Avignon</cx:pt>
          <cx:pt idx="5454">Avignon</cx:pt>
          <cx:pt idx="5455">Avignon</cx:pt>
          <cx:pt idx="5456">Avignon</cx:pt>
          <cx:pt idx="5457">Avignon</cx:pt>
          <cx:pt idx="5458">Avignon</cx:pt>
          <cx:pt idx="5459">Avignon</cx:pt>
          <cx:pt idx="5460">Avignon</cx:pt>
          <cx:pt idx="5461">Avignon</cx:pt>
          <cx:pt idx="5462">Avignon</cx:pt>
          <cx:pt idx="5463">Avignon</cx:pt>
          <cx:pt idx="5464">Avignon</cx:pt>
          <cx:pt idx="5465">Avignon</cx:pt>
          <cx:pt idx="5466">Avignon</cx:pt>
          <cx:pt idx="5467">Avignon</cx:pt>
          <cx:pt idx="5468">Cergy</cx:pt>
          <cx:pt idx="5469">Cergy</cx:pt>
          <cx:pt idx="5470">Cergy</cx:pt>
          <cx:pt idx="5471">Cergy</cx:pt>
          <cx:pt idx="5472">Cergy</cx:pt>
          <cx:pt idx="5473">Cergy</cx:pt>
          <cx:pt idx="5474">Cergy</cx:pt>
          <cx:pt idx="5475">Cergy</cx:pt>
          <cx:pt idx="5476">Cergy</cx:pt>
          <cx:pt idx="5477">Cergy</cx:pt>
          <cx:pt idx="5478">Cergy</cx:pt>
          <cx:pt idx="5479">Cergy</cx:pt>
          <cx:pt idx="5480">Cergy</cx:pt>
          <cx:pt idx="5481">Cergy</cx:pt>
          <cx:pt idx="5482">Avignon</cx:pt>
          <cx:pt idx="5483">Avignon</cx:pt>
          <cx:pt idx="5484">Avignon</cx:pt>
          <cx:pt idx="5485">Avignon</cx:pt>
          <cx:pt idx="5486">Avignon</cx:pt>
          <cx:pt idx="5487">Avignon</cx:pt>
          <cx:pt idx="5488">Avignon</cx:pt>
          <cx:pt idx="5489">Avignon</cx:pt>
          <cx:pt idx="5490">Avignon</cx:pt>
          <cx:pt idx="5491">Avignon</cx:pt>
          <cx:pt idx="5492">Avignon</cx:pt>
          <cx:pt idx="5493">Avignon</cx:pt>
          <cx:pt idx="5494">Avignon</cx:pt>
          <cx:pt idx="5495">Avignon</cx:pt>
          <cx:pt idx="5496">Avignon</cx:pt>
          <cx:pt idx="5497">Avignon</cx:pt>
          <cx:pt idx="5498">Avignon</cx:pt>
          <cx:pt idx="5499">Avignon</cx:pt>
          <cx:pt idx="5500">Avignon</cx:pt>
          <cx:pt idx="5501">Avignon</cx:pt>
          <cx:pt idx="5502">Avignon</cx:pt>
          <cx:pt idx="5503">Cergy</cx:pt>
          <cx:pt idx="5504">Cergy</cx:pt>
          <cx:pt idx="5505">Cergy</cx:pt>
          <cx:pt idx="5506">Cergy</cx:pt>
          <cx:pt idx="5507">Cergy</cx:pt>
          <cx:pt idx="5508">Cergy</cx:pt>
          <cx:pt idx="5509">Cergy</cx:pt>
          <cx:pt idx="5510">Cergy</cx:pt>
          <cx:pt idx="5511">Cergy</cx:pt>
          <cx:pt idx="5512">Cergy</cx:pt>
          <cx:pt idx="5513">Cergy</cx:pt>
          <cx:pt idx="5514">Cergy</cx:pt>
          <cx:pt idx="5515">Cergy</cx:pt>
          <cx:pt idx="5516">Cergy</cx:pt>
          <cx:pt idx="5517">Cergy</cx:pt>
          <cx:pt idx="5518">Cergy</cx:pt>
          <cx:pt idx="5519">Cergy</cx:pt>
          <cx:pt idx="5520">Cergy</cx:pt>
          <cx:pt idx="5521">Cergy</cx:pt>
          <cx:pt idx="5522">Cergy</cx:pt>
          <cx:pt idx="5523">Cergy</cx:pt>
          <cx:pt idx="5524">Cergy</cx:pt>
          <cx:pt idx="5525">Clermont-Ferrand</cx:pt>
          <cx:pt idx="5526">Clermont-Ferrand</cx:pt>
          <cx:pt idx="5527">Clermont-Ferrand</cx:pt>
          <cx:pt idx="5528">Clermont-Ferrand</cx:pt>
          <cx:pt idx="5529">Clermont-Ferrand</cx:pt>
          <cx:pt idx="5530">Clermont-Ferrand</cx:pt>
          <cx:pt idx="5531">Clermont-Ferrand</cx:pt>
          <cx:pt idx="5532">Clermont-Ferrand</cx:pt>
          <cx:pt idx="5533">Clermont-Ferrand</cx:pt>
          <cx:pt idx="5534">Clermont-Ferrand</cx:pt>
          <cx:pt idx="5535">Clermont-Ferrand</cx:pt>
          <cx:pt idx="5536">Clermont-Ferrand</cx:pt>
          <cx:pt idx="5537">Clermont-Ferrand</cx:pt>
          <cx:pt idx="5538">Clermont-Ferrand</cx:pt>
          <cx:pt idx="5539">Clermont-Ferrand</cx:pt>
          <cx:pt idx="5540">Clermont-Ferrand</cx:pt>
          <cx:pt idx="5541">Clermont-Ferrand</cx:pt>
          <cx:pt idx="5542">Clermont-Ferrand</cx:pt>
          <cx:pt idx="5543">Clermont-Ferrand</cx:pt>
          <cx:pt idx="5544">Clermont-Ferrand</cx:pt>
          <cx:pt idx="5545">Clermont-Ferrand</cx:pt>
          <cx:pt idx="5546">Clermont-Ferrand</cx:pt>
          <cx:pt idx="5547">Clermont-Ferrand</cx:pt>
          <cx:pt idx="5548">Clermont-Ferrand</cx:pt>
          <cx:pt idx="5549">Clermont-Ferrand</cx:pt>
          <cx:pt idx="5550">Clermont-Ferrand</cx:pt>
          <cx:pt idx="5551">Clermont-Ferrand</cx:pt>
          <cx:pt idx="5552">Cergy</cx:pt>
          <cx:pt idx="5553">Cergy</cx:pt>
          <cx:pt idx="5554">Cergy</cx:pt>
          <cx:pt idx="5555">Cergy</cx:pt>
          <cx:pt idx="5556">Cergy</cx:pt>
          <cx:pt idx="5557">Cergy</cx:pt>
          <cx:pt idx="5558">Cergy</cx:pt>
          <cx:pt idx="5559">Cergy</cx:pt>
          <cx:pt idx="5560">Clermont-Ferrand</cx:pt>
          <cx:pt idx="5561">Clermont-Ferrand</cx:pt>
          <cx:pt idx="5562">Clermont-Ferrand</cx:pt>
          <cx:pt idx="5563">Clermont-Ferrand</cx:pt>
          <cx:pt idx="5564">Clermont-Ferrand</cx:pt>
          <cx:pt idx="5565">Clermont-Ferrand</cx:pt>
          <cx:pt idx="5566">Clermont-Ferrand</cx:pt>
          <cx:pt idx="5567">Clermont-Ferrand</cx:pt>
          <cx:pt idx="5568">Cergy</cx:pt>
          <cx:pt idx="5569">Cergy</cx:pt>
          <cx:pt idx="5570">Cergy</cx:pt>
          <cx:pt idx="5571">Cergy</cx:pt>
          <cx:pt idx="5572">Cergy</cx:pt>
          <cx:pt idx="5573">Cergy</cx:pt>
          <cx:pt idx="5574">Cergy</cx:pt>
          <cx:pt idx="5575">Cergy</cx:pt>
          <cx:pt idx="5576">Cergy</cx:pt>
          <cx:pt idx="5577">Avignon</cx:pt>
          <cx:pt idx="5578">Cergy</cx:pt>
          <cx:pt idx="5579">Cergy</cx:pt>
          <cx:pt idx="5580">Cergy</cx:pt>
          <cx:pt idx="5581">Cergy</cx:pt>
          <cx:pt idx="5582">Cergy</cx:pt>
          <cx:pt idx="5583">Cergy</cx:pt>
          <cx:pt idx="5584">Avignon</cx:pt>
          <cx:pt idx="5585">Avignon</cx:pt>
          <cx:pt idx="5586">Cergy</cx:pt>
          <cx:pt idx="5587">Cergy</cx:pt>
          <cx:pt idx="5588">Cergy</cx:pt>
          <cx:pt idx="5589">Cergy</cx:pt>
          <cx:pt idx="5590">Cergy</cx:pt>
          <cx:pt idx="5591">Cergy</cx:pt>
          <cx:pt idx="5592">Cergy</cx:pt>
          <cx:pt idx="5593">Cergy</cx:pt>
          <cx:pt idx="5594">Cergy</cx:pt>
          <cx:pt idx="5595">Cergy</cx:pt>
          <cx:pt idx="5596">Avignon</cx:pt>
          <cx:pt idx="5597">Avignon</cx:pt>
          <cx:pt idx="5598">Avignon</cx:pt>
          <cx:pt idx="5599">Avignon</cx:pt>
          <cx:pt idx="5600">Avignon</cx:pt>
          <cx:pt idx="5601">Avignon</cx:pt>
          <cx:pt idx="5602">Avignon</cx:pt>
          <cx:pt idx="5603">Avignon</cx:pt>
          <cx:pt idx="5604">Avignon</cx:pt>
          <cx:pt idx="5605">Avignon</cx:pt>
          <cx:pt idx="5606">Avignon</cx:pt>
          <cx:pt idx="5607">Avignon</cx:pt>
          <cx:pt idx="5608">Avignon</cx:pt>
          <cx:pt idx="5609">Avignon</cx:pt>
          <cx:pt idx="5610">Avignon</cx:pt>
          <cx:pt idx="5611">Avignon</cx:pt>
          <cx:pt idx="5612">Avignon</cx:pt>
          <cx:pt idx="5613">Avignon</cx:pt>
          <cx:pt idx="5614">Avignon</cx:pt>
          <cx:pt idx="5615">Avignon</cx:pt>
          <cx:pt idx="5616">Avignon</cx:pt>
          <cx:pt idx="5617">Cergy</cx:pt>
          <cx:pt idx="5618">Cergy</cx:pt>
          <cx:pt idx="5619">Cergy</cx:pt>
          <cx:pt idx="5620">Cergy</cx:pt>
          <cx:pt idx="5621">Cergy</cx:pt>
          <cx:pt idx="5622">Cergy</cx:pt>
          <cx:pt idx="5623">Cergy</cx:pt>
          <cx:pt idx="5624">Cergy</cx:pt>
          <cx:pt idx="5625">Cergy</cx:pt>
          <cx:pt idx="5626">Cergy</cx:pt>
          <cx:pt idx="5627">Cergy</cx:pt>
          <cx:pt idx="5628">Cergy</cx:pt>
          <cx:pt idx="5629">Cergy</cx:pt>
          <cx:pt idx="5630">Cergy</cx:pt>
          <cx:pt idx="5631">Cergy</cx:pt>
          <cx:pt idx="5632">Cergy</cx:pt>
          <cx:pt idx="5633">Clermont-Ferrand</cx:pt>
          <cx:pt idx="5634">Clermont-Ferrand</cx:pt>
          <cx:pt idx="5635">Clermont-Ferrand</cx:pt>
          <cx:pt idx="5636">Clermont-Ferrand</cx:pt>
          <cx:pt idx="5637">Cergy</cx:pt>
          <cx:pt idx="5638">Cergy</cx:pt>
          <cx:pt idx="5639">Cergy</cx:pt>
          <cx:pt idx="5640">Cergy</cx:pt>
          <cx:pt idx="5641">Cergy</cx:pt>
          <cx:pt idx="5642">Cergy</cx:pt>
          <cx:pt idx="5643">Cergy</cx:pt>
          <cx:pt idx="5644">Cergy</cx:pt>
          <cx:pt idx="5645">Avignon</cx:pt>
          <cx:pt idx="5646">Avignon</cx:pt>
          <cx:pt idx="5647">Avignon</cx:pt>
          <cx:pt idx="5648">Avignon</cx:pt>
          <cx:pt idx="5649">Avignon</cx:pt>
          <cx:pt idx="5650">Avignon</cx:pt>
          <cx:pt idx="5651">Avignon</cx:pt>
          <cx:pt idx="5652">Avignon</cx:pt>
          <cx:pt idx="5653">Avignon</cx:pt>
          <cx:pt idx="5654">Avignon</cx:pt>
          <cx:pt idx="5655">Avignon</cx:pt>
          <cx:pt idx="5656">Avignon</cx:pt>
          <cx:pt idx="5657">Avignon</cx:pt>
          <cx:pt idx="5658">Avignon</cx:pt>
          <cx:pt idx="5659">Avignon</cx:pt>
          <cx:pt idx="5660">Avignon</cx:pt>
          <cx:pt idx="5661">Avignon</cx:pt>
          <cx:pt idx="5662">Avignon</cx:pt>
          <cx:pt idx="5663">Avignon</cx:pt>
          <cx:pt idx="5664">Avignon</cx:pt>
          <cx:pt idx="5665">Avignon</cx:pt>
          <cx:pt idx="5666">Avignon</cx:pt>
          <cx:pt idx="5667">Avignon</cx:pt>
          <cx:pt idx="5668">Avignon</cx:pt>
          <cx:pt idx="5669">Avignon</cx:pt>
          <cx:pt idx="5670">Avignon</cx:pt>
          <cx:pt idx="5671">Avignon</cx:pt>
          <cx:pt idx="5672">Avignon</cx:pt>
          <cx:pt idx="5673">Avignon</cx:pt>
          <cx:pt idx="5674">Avignon</cx:pt>
          <cx:pt idx="5675">Avignon</cx:pt>
          <cx:pt idx="5676">Avignon</cx:pt>
          <cx:pt idx="5677">Avignon</cx:pt>
          <cx:pt idx="5678">Avignon</cx:pt>
          <cx:pt idx="5679">Avignon</cx:pt>
          <cx:pt idx="5680">Avignon</cx:pt>
          <cx:pt idx="5681">Avignon</cx:pt>
          <cx:pt idx="5682">Avignon</cx:pt>
          <cx:pt idx="5683">Avignon</cx:pt>
          <cx:pt idx="5684">Avignon</cx:pt>
          <cx:pt idx="5685">Avignon</cx:pt>
          <cx:pt idx="5686">Avignon</cx:pt>
          <cx:pt idx="5687">Avignon</cx:pt>
          <cx:pt idx="5688">Avignon</cx:pt>
          <cx:pt idx="5689">Avignon</cx:pt>
          <cx:pt idx="5690">Avignon</cx:pt>
          <cx:pt idx="5691">Avignon</cx:pt>
          <cx:pt idx="5692">Avignon</cx:pt>
          <cx:pt idx="5693">Avignon</cx:pt>
          <cx:pt idx="5694">Avignon</cx:pt>
          <cx:pt idx="5695">Avignon</cx:pt>
          <cx:pt idx="5696">Avignon</cx:pt>
          <cx:pt idx="5697">Avignon</cx:pt>
          <cx:pt idx="5698">Avignon</cx:pt>
          <cx:pt idx="5699">Avignon</cx:pt>
          <cx:pt idx="5700">Avignon</cx:pt>
          <cx:pt idx="5701">Avignon</cx:pt>
          <cx:pt idx="5702">Avignon</cx:pt>
          <cx:pt idx="5703">Avignon</cx:pt>
          <cx:pt idx="5704">Avignon</cx:pt>
          <cx:pt idx="5705">Avignon</cx:pt>
          <cx:pt idx="5706">Avignon</cx:pt>
          <cx:pt idx="5707">Avignon</cx:pt>
          <cx:pt idx="5708">Avignon</cx:pt>
          <cx:pt idx="5709">Avignon</cx:pt>
          <cx:pt idx="5710">Avignon</cx:pt>
          <cx:pt idx="5711">Avignon</cx:pt>
          <cx:pt idx="5712">Avignon</cx:pt>
          <cx:pt idx="5713">Avignon</cx:pt>
          <cx:pt idx="5714">Avignon</cx:pt>
          <cx:pt idx="5715">Avignon</cx:pt>
          <cx:pt idx="5716">Avignon</cx:pt>
          <cx:pt idx="5717">Avignon</cx:pt>
          <cx:pt idx="5718">Cergy</cx:pt>
          <cx:pt idx="5719">Avignon</cx:pt>
          <cx:pt idx="5720">Avignon</cx:pt>
          <cx:pt idx="5721">Avignon</cx:pt>
          <cx:pt idx="5722">Avignon</cx:pt>
          <cx:pt idx="5723">Avignon</cx:pt>
          <cx:pt idx="5724">Avignon</cx:pt>
          <cx:pt idx="5725">Avignon</cx:pt>
          <cx:pt idx="5726">Avignon</cx:pt>
          <cx:pt idx="5727">Avignon</cx:pt>
          <cx:pt idx="5728">Avignon</cx:pt>
          <cx:pt idx="5729">Avignon</cx:pt>
          <cx:pt idx="5730">Avignon</cx:pt>
          <cx:pt idx="5731">Avignon</cx:pt>
          <cx:pt idx="5732">Avignon</cx:pt>
          <cx:pt idx="5733">Avignon</cx:pt>
          <cx:pt idx="5734">Avignon</cx:pt>
          <cx:pt idx="5735">Avignon</cx:pt>
          <cx:pt idx="5736">Avignon</cx:pt>
          <cx:pt idx="5737">Avignon</cx:pt>
          <cx:pt idx="5738">Avignon</cx:pt>
          <cx:pt idx="5739">Avignon</cx:pt>
          <cx:pt idx="5740">Avignon</cx:pt>
          <cx:pt idx="5741">Avignon</cx:pt>
          <cx:pt idx="5742">Avignon</cx:pt>
          <cx:pt idx="5743">Cergy</cx:pt>
          <cx:pt idx="5744">Cergy</cx:pt>
          <cx:pt idx="5745">Cergy</cx:pt>
          <cx:pt idx="5746">Cergy</cx:pt>
          <cx:pt idx="5747">Cergy</cx:pt>
          <cx:pt idx="5748">Avignon</cx:pt>
          <cx:pt idx="5749">Avignon</cx:pt>
          <cx:pt idx="5750">Avignon</cx:pt>
          <cx:pt idx="5751">Avignon</cx:pt>
          <cx:pt idx="5752">Avignon</cx:pt>
          <cx:pt idx="5753">Avignon</cx:pt>
          <cx:pt idx="5754">Avignon</cx:pt>
          <cx:pt idx="5755">Avignon</cx:pt>
          <cx:pt idx="5756">Avignon</cx:pt>
          <cx:pt idx="5757">Avignon</cx:pt>
          <cx:pt idx="5758">Avignon</cx:pt>
          <cx:pt idx="5759">Avignon</cx:pt>
          <cx:pt idx="5760">Avignon</cx:pt>
          <cx:pt idx="5761">Avignon</cx:pt>
          <cx:pt idx="5762">Avignon</cx:pt>
          <cx:pt idx="5763">Avignon</cx:pt>
          <cx:pt idx="5764">Cergy</cx:pt>
          <cx:pt idx="5765">Cergy</cx:pt>
          <cx:pt idx="5766">Cergy</cx:pt>
          <cx:pt idx="5767">Cergy</cx:pt>
          <cx:pt idx="5768">Cergy</cx:pt>
          <cx:pt idx="5769">Cergy</cx:pt>
          <cx:pt idx="5770">Cergy</cx:pt>
          <cx:pt idx="5771">Cergy</cx:pt>
          <cx:pt idx="5772">Cergy</cx:pt>
          <cx:pt idx="5773">Cergy</cx:pt>
          <cx:pt idx="5774">Cergy</cx:pt>
          <cx:pt idx="5775">Cergy</cx:pt>
          <cx:pt idx="5776">Cergy</cx:pt>
          <cx:pt idx="5777">Cergy</cx:pt>
          <cx:pt idx="5778">Cergy</cx:pt>
          <cx:pt idx="5779">Cergy</cx:pt>
          <cx:pt idx="5780">Cergy</cx:pt>
          <cx:pt idx="5781">Cergy</cx:pt>
          <cx:pt idx="5782">Cergy</cx:pt>
          <cx:pt idx="5783">Cergy</cx:pt>
          <cx:pt idx="5784">Cergy</cx:pt>
          <cx:pt idx="5785">Cergy</cx:pt>
          <cx:pt idx="5786">Cergy</cx:pt>
          <cx:pt idx="5787">Cergy</cx:pt>
          <cx:pt idx="5788">Cergy</cx:pt>
          <cx:pt idx="5789">Cergy</cx:pt>
          <cx:pt idx="5790">Cergy</cx:pt>
          <cx:pt idx="5791">Cergy</cx:pt>
          <cx:pt idx="5792">Cergy</cx:pt>
          <cx:pt idx="5793">Cergy</cx:pt>
          <cx:pt idx="5794">Cergy</cx:pt>
          <cx:pt idx="5795">Cergy</cx:pt>
          <cx:pt idx="5796">Cergy</cx:pt>
          <cx:pt idx="5797">Cergy</cx:pt>
          <cx:pt idx="5798">Cergy</cx:pt>
          <cx:pt idx="5799">Cergy</cx:pt>
          <cx:pt idx="5800">Cergy</cx:pt>
          <cx:pt idx="5801">Cergy</cx:pt>
          <cx:pt idx="5802">Cergy</cx:pt>
          <cx:pt idx="5803">Cergy</cx:pt>
          <cx:pt idx="5804">Cergy</cx:pt>
          <cx:pt idx="5805">Cergy</cx:pt>
          <cx:pt idx="5806">Cergy</cx:pt>
          <cx:pt idx="5807">Cergy</cx:pt>
          <cx:pt idx="5808">Cergy</cx:pt>
          <cx:pt idx="5809">Cergy</cx:pt>
          <cx:pt idx="5810">Cergy</cx:pt>
          <cx:pt idx="5811">Cergy</cx:pt>
          <cx:pt idx="5812">Cergy</cx:pt>
          <cx:pt idx="5813">Cergy</cx:pt>
          <cx:pt idx="5814">Cergy</cx:pt>
          <cx:pt idx="5815">Cergy</cx:pt>
          <cx:pt idx="5816">Cergy</cx:pt>
          <cx:pt idx="5817">Cergy</cx:pt>
          <cx:pt idx="5818">Cergy</cx:pt>
          <cx:pt idx="5819">Cergy</cx:pt>
          <cx:pt idx="5820">Cergy</cx:pt>
          <cx:pt idx="5821">Cergy</cx:pt>
          <cx:pt idx="5822">Cergy</cx:pt>
          <cx:pt idx="5823">Cergy</cx:pt>
          <cx:pt idx="5824">Cergy</cx:pt>
          <cx:pt idx="5825">Cergy</cx:pt>
          <cx:pt idx="5826">Cergy</cx:pt>
          <cx:pt idx="5827">Cergy</cx:pt>
          <cx:pt idx="5828">Cergy</cx:pt>
          <cx:pt idx="5829">Cergy</cx:pt>
          <cx:pt idx="5830">Cergy</cx:pt>
          <cx:pt idx="5831">Cergy</cx:pt>
          <cx:pt idx="5832">Cergy</cx:pt>
          <cx:pt idx="5833">Cergy</cx:pt>
          <cx:pt idx="5834">Cergy</cx:pt>
          <cx:pt idx="5835">Cergy</cx:pt>
          <cx:pt idx="5836">Cergy</cx:pt>
          <cx:pt idx="5837">Cergy</cx:pt>
          <cx:pt idx="5838">Cergy</cx:pt>
          <cx:pt idx="5839">Cergy</cx:pt>
          <cx:pt idx="5840">Cergy</cx:pt>
          <cx:pt idx="5841">Cergy</cx:pt>
          <cx:pt idx="5842">Cergy</cx:pt>
          <cx:pt idx="5843">Cergy</cx:pt>
          <cx:pt idx="5844">Cergy</cx:pt>
          <cx:pt idx="5845">Cergy</cx:pt>
          <cx:pt idx="5846">Cergy</cx:pt>
          <cx:pt idx="5847">Cergy</cx:pt>
          <cx:pt idx="5848">Cergy</cx:pt>
          <cx:pt idx="5849">Cergy</cx:pt>
          <cx:pt idx="5850">Cergy</cx:pt>
          <cx:pt idx="5851">Cergy</cx:pt>
          <cx:pt idx="5852">Cergy</cx:pt>
          <cx:pt idx="5853">Cergy</cx:pt>
          <cx:pt idx="5854">Cergy</cx:pt>
          <cx:pt idx="5855">Cergy</cx:pt>
          <cx:pt idx="5856">Cergy</cx:pt>
          <cx:pt idx="5857">Cergy</cx:pt>
          <cx:pt idx="5858">Cergy</cx:pt>
          <cx:pt idx="5859">Cergy</cx:pt>
          <cx:pt idx="5860">Cergy</cx:pt>
          <cx:pt idx="5861">Cergy</cx:pt>
          <cx:pt idx="5862">Cergy</cx:pt>
          <cx:pt idx="5863">Cergy</cx:pt>
          <cx:pt idx="5864">Cergy</cx:pt>
          <cx:pt idx="5865">Cergy</cx:pt>
          <cx:pt idx="5866">Cergy</cx:pt>
          <cx:pt idx="5867">Cergy</cx:pt>
          <cx:pt idx="5868">Cergy</cx:pt>
          <cx:pt idx="5869">Cergy</cx:pt>
          <cx:pt idx="5870">Cergy</cx:pt>
          <cx:pt idx="5871">Cergy</cx:pt>
          <cx:pt idx="5872">Cergy</cx:pt>
          <cx:pt idx="5873">Cergy</cx:pt>
          <cx:pt idx="5874">Cergy</cx:pt>
          <cx:pt idx="5875">Cergy</cx:pt>
          <cx:pt idx="5876">Cergy</cx:pt>
          <cx:pt idx="5877">Cergy</cx:pt>
          <cx:pt idx="5878">Cergy</cx:pt>
          <cx:pt idx="5879">Cergy</cx:pt>
          <cx:pt idx="5880">Cergy</cx:pt>
          <cx:pt idx="5881">Cergy</cx:pt>
          <cx:pt idx="5882">Cergy</cx:pt>
          <cx:pt idx="5883">Cergy</cx:pt>
          <cx:pt idx="5884">Cergy</cx:pt>
          <cx:pt idx="5885">Cergy</cx:pt>
          <cx:pt idx="5886">Cergy</cx:pt>
          <cx:pt idx="5887">Cergy</cx:pt>
          <cx:pt idx="5888">Cergy</cx:pt>
          <cx:pt idx="5889">Cergy</cx:pt>
          <cx:pt idx="5890">Cergy</cx:pt>
          <cx:pt idx="5891">Cergy</cx:pt>
          <cx:pt idx="5892">Cergy</cx:pt>
          <cx:pt idx="5893">Cergy</cx:pt>
          <cx:pt idx="5894">Cergy</cx:pt>
          <cx:pt idx="5895">Cergy</cx:pt>
          <cx:pt idx="5896">Cergy</cx:pt>
          <cx:pt idx="5897">Cergy</cx:pt>
          <cx:pt idx="5898">Cergy</cx:pt>
          <cx:pt idx="5899">Cergy</cx:pt>
          <cx:pt idx="5900">Avignon</cx:pt>
          <cx:pt idx="5901">Avignon</cx:pt>
          <cx:pt idx="5902">Avignon</cx:pt>
          <cx:pt idx="5903">Avignon</cx:pt>
          <cx:pt idx="5904">Avignon</cx:pt>
          <cx:pt idx="5905">Avignon</cx:pt>
          <cx:pt idx="5906">Avignon</cx:pt>
          <cx:pt idx="5907">Avignon</cx:pt>
          <cx:pt idx="5908">Avignon</cx:pt>
          <cx:pt idx="5909">Avignon</cx:pt>
          <cx:pt idx="5910">Cergy</cx:pt>
          <cx:pt idx="5911">Cergy</cx:pt>
          <cx:pt idx="5912">Cergy</cx:pt>
          <cx:pt idx="5913">Cergy</cx:pt>
          <cx:pt idx="5914">Cergy</cx:pt>
          <cx:pt idx="5915">Cergy</cx:pt>
          <cx:pt idx="5916">Cergy</cx:pt>
          <cx:pt idx="5917">Cergy</cx:pt>
          <cx:pt idx="5918">Cergy</cx:pt>
          <cx:pt idx="5919">Cergy</cx:pt>
          <cx:pt idx="5920">Cergy</cx:pt>
          <cx:pt idx="5921">Cergy</cx:pt>
          <cx:pt idx="5922">Cergy</cx:pt>
          <cx:pt idx="5923">Cergy</cx:pt>
          <cx:pt idx="5924">Cergy</cx:pt>
          <cx:pt idx="5925">Cergy</cx:pt>
          <cx:pt idx="5926">Cergy</cx:pt>
          <cx:pt idx="5927">Cergy</cx:pt>
          <cx:pt idx="5928">Cergy</cx:pt>
          <cx:pt idx="5929">Cergy</cx:pt>
          <cx:pt idx="5930">Cergy</cx:pt>
          <cx:pt idx="5931">Cergy</cx:pt>
          <cx:pt idx="5932">Cergy</cx:pt>
          <cx:pt idx="5933">Cergy</cx:pt>
          <cx:pt idx="5934">Cergy</cx:pt>
          <cx:pt idx="5935">Cergy</cx:pt>
          <cx:pt idx="5936">Cergy</cx:pt>
          <cx:pt idx="5937">Cergy</cx:pt>
          <cx:pt idx="5938">Cergy</cx:pt>
          <cx:pt idx="5939">Cergy</cx:pt>
          <cx:pt idx="5940">Cergy</cx:pt>
          <cx:pt idx="5941">Cergy</cx:pt>
          <cx:pt idx="5942">Cergy</cx:pt>
          <cx:pt idx="5943">Cergy</cx:pt>
          <cx:pt idx="5944">Cergy</cx:pt>
          <cx:pt idx="5945">Cergy</cx:pt>
          <cx:pt idx="5946">Cergy</cx:pt>
          <cx:pt idx="5947">Montauban</cx:pt>
          <cx:pt idx="5948">Montauban</cx:pt>
          <cx:pt idx="5949">Montauban</cx:pt>
          <cx:pt idx="5950">Montauban</cx:pt>
          <cx:pt idx="5951">Montauban</cx:pt>
          <cx:pt idx="5952">Montauban</cx:pt>
          <cx:pt idx="5953">Montauban</cx:pt>
          <cx:pt idx="5954">Montauban</cx:pt>
          <cx:pt idx="5955">Montauban</cx:pt>
          <cx:pt idx="5956">Montauban</cx:pt>
          <cx:pt idx="5957">Montauban</cx:pt>
          <cx:pt idx="5958">Montauban</cx:pt>
          <cx:pt idx="5959">Montauban</cx:pt>
          <cx:pt idx="5960">Montauban</cx:pt>
          <cx:pt idx="5961">Montauban</cx:pt>
          <cx:pt idx="5962">Montauban</cx:pt>
          <cx:pt idx="5963">Montauban</cx:pt>
          <cx:pt idx="5964">Montauban</cx:pt>
          <cx:pt idx="5965">Montauban</cx:pt>
          <cx:pt idx="5966">Montauban</cx:pt>
          <cx:pt idx="5967">Montauban</cx:pt>
          <cx:pt idx="5968">Montauban</cx:pt>
          <cx:pt idx="5969">Montauban</cx:pt>
          <cx:pt idx="5970">Montauban</cx:pt>
          <cx:pt idx="5971">Montauban</cx:pt>
          <cx:pt idx="5972">Montauban</cx:pt>
          <cx:pt idx="5973">Montauban</cx:pt>
          <cx:pt idx="5974">Montauban</cx:pt>
          <cx:pt idx="5975">Cergy</cx:pt>
          <cx:pt idx="5976">Cergy</cx:pt>
          <cx:pt idx="5977">Cergy</cx:pt>
          <cx:pt idx="5978">Cergy</cx:pt>
          <cx:pt idx="5979">Cergy</cx:pt>
          <cx:pt idx="5980">Cergy</cx:pt>
          <cx:pt idx="5981">Cergy</cx:pt>
          <cx:pt idx="5982">Cergy</cx:pt>
          <cx:pt idx="5983">Cergy</cx:pt>
          <cx:pt idx="5984">Cergy</cx:pt>
          <cx:pt idx="5985">Cergy</cx:pt>
          <cx:pt idx="5986">Cergy</cx:pt>
          <cx:pt idx="5987">Cergy</cx:pt>
          <cx:pt idx="5988">Cergy</cx:pt>
          <cx:pt idx="5989">Cergy</cx:pt>
          <cx:pt idx="5990">Cergy</cx:pt>
          <cx:pt idx="5991">Cergy</cx:pt>
          <cx:pt idx="5992">Cergy</cx:pt>
          <cx:pt idx="5993">Cergy</cx:pt>
          <cx:pt idx="5994">Cergy</cx:pt>
          <cx:pt idx="5995">Cergy</cx:pt>
          <cx:pt idx="5996">Cergy</cx:pt>
          <cx:pt idx="5997">Cergy</cx:pt>
          <cx:pt idx="5998">Cergy</cx:pt>
          <cx:pt idx="5999">Cergy</cx:pt>
          <cx:pt idx="6000">Cergy</cx:pt>
          <cx:pt idx="6001">Cergy</cx:pt>
          <cx:pt idx="6002">Cergy</cx:pt>
          <cx:pt idx="6003">Cergy</cx:pt>
          <cx:pt idx="6004">Cergy</cx:pt>
          <cx:pt idx="6005">Cergy</cx:pt>
          <cx:pt idx="6006">Cergy</cx:pt>
          <cx:pt idx="6007">Cergy</cx:pt>
          <cx:pt idx="6008">Cergy</cx:pt>
          <cx:pt idx="6009">Cergy</cx:pt>
          <cx:pt idx="6010">Cergy</cx:pt>
          <cx:pt idx="6011">Cergy</cx:pt>
          <cx:pt idx="6012">Cergy</cx:pt>
          <cx:pt idx="6013">Cergy</cx:pt>
          <cx:pt idx="6014">Cergy</cx:pt>
          <cx:pt idx="6015">Cergy</cx:pt>
          <cx:pt idx="6016">Cergy</cx:pt>
          <cx:pt idx="6017">Cergy</cx:pt>
          <cx:pt idx="6018">Cergy</cx:pt>
          <cx:pt idx="6019">Cergy</cx:pt>
          <cx:pt idx="6020">Cergy</cx:pt>
          <cx:pt idx="6021">Cergy</cx:pt>
          <cx:pt idx="6022">Cergy</cx:pt>
          <cx:pt idx="6023">Cergy</cx:pt>
          <cx:pt idx="6024">Cergy</cx:pt>
          <cx:pt idx="6025">Cergy</cx:pt>
          <cx:pt idx="6026">Cergy</cx:pt>
          <cx:pt idx="6027">Cergy</cx:pt>
          <cx:pt idx="6028">Cergy</cx:pt>
          <cx:pt idx="6029">Cergy</cx:pt>
          <cx:pt idx="6030">Cergy</cx:pt>
          <cx:pt idx="6031">Cergy</cx:pt>
          <cx:pt idx="6032">Cergy</cx:pt>
          <cx:pt idx="6033">Cergy</cx:pt>
          <cx:pt idx="6034">Cergy</cx:pt>
          <cx:pt idx="6035">Cergy</cx:pt>
          <cx:pt idx="6036">Cergy</cx:pt>
          <cx:pt idx="6037">Cergy</cx:pt>
          <cx:pt idx="6038">Cergy</cx:pt>
          <cx:pt idx="6039">Cergy</cx:pt>
          <cx:pt idx="6040">Cergy</cx:pt>
          <cx:pt idx="6041">Cergy</cx:pt>
          <cx:pt idx="6042">Cergy</cx:pt>
          <cx:pt idx="6043">Cergy</cx:pt>
          <cx:pt idx="6044">Cergy</cx:pt>
          <cx:pt idx="6045">Cergy</cx:pt>
          <cx:pt idx="6046">Cergy</cx:pt>
          <cx:pt idx="6047">Cergy</cx:pt>
          <cx:pt idx="6048">Cergy</cx:pt>
          <cx:pt idx="6049">Cergy</cx:pt>
          <cx:pt idx="6050">Cergy</cx:pt>
          <cx:pt idx="6051">Cergy</cx:pt>
          <cx:pt idx="6052">Cergy</cx:pt>
          <cx:pt idx="6053">Cergy</cx:pt>
          <cx:pt idx="6054">Cergy</cx:pt>
          <cx:pt idx="6055">Cergy</cx:pt>
          <cx:pt idx="6056">Cergy</cx:pt>
          <cx:pt idx="6057">Cergy</cx:pt>
          <cx:pt idx="6058">Cergy</cx:pt>
          <cx:pt idx="6059">Cergy</cx:pt>
          <cx:pt idx="6060">Cergy</cx:pt>
          <cx:pt idx="6061">Cergy</cx:pt>
          <cx:pt idx="6062">Cergy</cx:pt>
          <cx:pt idx="6063">Cergy</cx:pt>
          <cx:pt idx="6064">Cergy</cx:pt>
          <cx:pt idx="6065">Cergy</cx:pt>
          <cx:pt idx="6066">Cergy</cx:pt>
          <cx:pt idx="6067">Cergy</cx:pt>
          <cx:pt idx="6068">Cergy</cx:pt>
          <cx:pt idx="6069">Cergy</cx:pt>
          <cx:pt idx="6070">Cergy</cx:pt>
          <cx:pt idx="6071">Cergy</cx:pt>
          <cx:pt idx="6072">Cergy</cx:pt>
          <cx:pt idx="6073">Cergy</cx:pt>
          <cx:pt idx="6074">Cergy</cx:pt>
          <cx:pt idx="6075">Cergy</cx:pt>
          <cx:pt idx="6076">Cergy</cx:pt>
          <cx:pt idx="6077">Cergy</cx:pt>
          <cx:pt idx="6078">Cergy</cx:pt>
          <cx:pt idx="6079">Cergy</cx:pt>
          <cx:pt idx="6080">Cergy</cx:pt>
          <cx:pt idx="6081">Cergy</cx:pt>
          <cx:pt idx="6082">Cergy</cx:pt>
          <cx:pt idx="6083">Cergy</cx:pt>
          <cx:pt idx="6084">Cergy</cx:pt>
          <cx:pt idx="6085">Cergy</cx:pt>
          <cx:pt idx="6086">Cergy</cx:pt>
          <cx:pt idx="6087">Cergy</cx:pt>
          <cx:pt idx="6088">Cergy</cx:pt>
          <cx:pt idx="6089">Cergy</cx:pt>
          <cx:pt idx="6090">Cergy</cx:pt>
          <cx:pt idx="6091">Cergy</cx:pt>
          <cx:pt idx="6092">Cergy</cx:pt>
          <cx:pt idx="6093">Cergy</cx:pt>
          <cx:pt idx="6094">Cergy</cx:pt>
          <cx:pt idx="6095">Cergy</cx:pt>
          <cx:pt idx="6096">Cergy</cx:pt>
          <cx:pt idx="6097">Cergy</cx:pt>
          <cx:pt idx="6098">Cergy</cx:pt>
          <cx:pt idx="6099">Cergy</cx:pt>
          <cx:pt idx="6100">Cergy</cx:pt>
          <cx:pt idx="6101">Cergy</cx:pt>
          <cx:pt idx="6102">Cergy</cx:pt>
          <cx:pt idx="6103">Cergy</cx:pt>
          <cx:pt idx="6104">Cergy</cx:pt>
          <cx:pt idx="6105">Cergy</cx:pt>
          <cx:pt idx="6106">Cergy</cx:pt>
          <cx:pt idx="6107">Cergy</cx:pt>
          <cx:pt idx="6108">Cergy</cx:pt>
          <cx:pt idx="6109">Cergy</cx:pt>
          <cx:pt idx="6110">Cergy</cx:pt>
          <cx:pt idx="6111">Cergy</cx:pt>
          <cx:pt idx="6112">Cergy</cx:pt>
          <cx:pt idx="6113">Cergy</cx:pt>
          <cx:pt idx="6114">Cergy</cx:pt>
          <cx:pt idx="6115">Cergy</cx:pt>
          <cx:pt idx="6116">Cergy</cx:pt>
          <cx:pt idx="6117">Cergy</cx:pt>
          <cx:pt idx="6118">Cergy</cx:pt>
          <cx:pt idx="6119">Cergy</cx:pt>
          <cx:pt idx="6120">Cergy</cx:pt>
          <cx:pt idx="6121">Cergy</cx:pt>
          <cx:pt idx="6122">Cergy</cx:pt>
          <cx:pt idx="6123">Cergy</cx:pt>
          <cx:pt idx="6124">Cergy</cx:pt>
          <cx:pt idx="6125">Cergy</cx:pt>
          <cx:pt idx="6126">Cergy</cx:pt>
          <cx:pt idx="6127">Cergy</cx:pt>
          <cx:pt idx="6128">Cergy</cx:pt>
          <cx:pt idx="6129">Cergy</cx:pt>
          <cx:pt idx="6130">Cergy</cx:pt>
          <cx:pt idx="6131">Cergy</cx:pt>
          <cx:pt idx="6132">Cergy</cx:pt>
          <cx:pt idx="6133">Cergy</cx:pt>
          <cx:pt idx="6134">Cergy</cx:pt>
          <cx:pt idx="6135">Cergy</cx:pt>
          <cx:pt idx="6136">Cergy</cx:pt>
          <cx:pt idx="6137">Cergy</cx:pt>
          <cx:pt idx="6138">Cergy</cx:pt>
          <cx:pt idx="6139">Cergy</cx:pt>
          <cx:pt idx="6140">Cergy</cx:pt>
          <cx:pt idx="6141">Cergy</cx:pt>
          <cx:pt idx="6142">Cergy</cx:pt>
          <cx:pt idx="6143">Cergy</cx:pt>
          <cx:pt idx="6144">Cergy</cx:pt>
          <cx:pt idx="6145">Cergy</cx:pt>
          <cx:pt idx="6146">Cergy</cx:pt>
          <cx:pt idx="6147">Cergy</cx:pt>
          <cx:pt idx="6148">Cergy</cx:pt>
          <cx:pt idx="6149">Avignon</cx:pt>
          <cx:pt idx="6150">Avignon</cx:pt>
          <cx:pt idx="6151">Avignon</cx:pt>
          <cx:pt idx="6152">Avignon</cx:pt>
          <cx:pt idx="6153">Avignon</cx:pt>
          <cx:pt idx="6154">Avignon</cx:pt>
          <cx:pt idx="6155">Avignon</cx:pt>
          <cx:pt idx="6156">Avignon</cx:pt>
          <cx:pt idx="6157">Avignon</cx:pt>
          <cx:pt idx="6158">Avignon</cx:pt>
          <cx:pt idx="6159">Avignon</cx:pt>
          <cx:pt idx="6160">Avignon</cx:pt>
          <cx:pt idx="6161">Avignon</cx:pt>
          <cx:pt idx="6162">Avignon</cx:pt>
          <cx:pt idx="6163">Avignon</cx:pt>
          <cx:pt idx="6164">Avignon</cx:pt>
          <cx:pt idx="6165">Avignon</cx:pt>
          <cx:pt idx="6166">Avignon</cx:pt>
          <cx:pt idx="6167">Avignon</cx:pt>
          <cx:pt idx="6168">Avignon</cx:pt>
          <cx:pt idx="6169">Cergy</cx:pt>
          <cx:pt idx="6170">Cergy</cx:pt>
          <cx:pt idx="6171">Cergy</cx:pt>
          <cx:pt idx="6172">Cergy</cx:pt>
          <cx:pt idx="6173">Cergy</cx:pt>
          <cx:pt idx="6174">Cergy</cx:pt>
          <cx:pt idx="6175">Cergy</cx:pt>
          <cx:pt idx="6176">Cergy</cx:pt>
          <cx:pt idx="6177">Cergy</cx:pt>
          <cx:pt idx="6178">Cergy</cx:pt>
          <cx:pt idx="6179">Cergy</cx:pt>
          <cx:pt idx="6180">Cergy</cx:pt>
          <cx:pt idx="6181">Cergy</cx:pt>
          <cx:pt idx="6182">Cergy</cx:pt>
          <cx:pt idx="6183">Cergy</cx:pt>
          <cx:pt idx="6184">Cergy</cx:pt>
          <cx:pt idx="6185">Cergy</cx:pt>
          <cx:pt idx="6186">Cergy</cx:pt>
          <cx:pt idx="6187">Cergy</cx:pt>
          <cx:pt idx="6188">Cergy</cx:pt>
          <cx:pt idx="6189">Cergy</cx:pt>
          <cx:pt idx="6190">Cergy</cx:pt>
          <cx:pt idx="6191">Cergy</cx:pt>
          <cx:pt idx="6192">Cergy</cx:pt>
          <cx:pt idx="6193">Cergy</cx:pt>
          <cx:pt idx="6194">Cergy</cx:pt>
          <cx:pt idx="6195">Cergy</cx:pt>
          <cx:pt idx="6196">Cergy</cx:pt>
          <cx:pt idx="6197">Cergy</cx:pt>
          <cx:pt idx="6198">Cergy</cx:pt>
          <cx:pt idx="6199">Cergy</cx:pt>
          <cx:pt idx="6200">Cergy</cx:pt>
          <cx:pt idx="6201">Cergy</cx:pt>
          <cx:pt idx="6202">Cergy</cx:pt>
          <cx:pt idx="6203">Cergy</cx:pt>
          <cx:pt idx="6204">Cergy</cx:pt>
          <cx:pt idx="6205">Cergy</cx:pt>
          <cx:pt idx="6206">Cergy</cx:pt>
          <cx:pt idx="6207">Cergy</cx:pt>
          <cx:pt idx="6208">Cergy</cx:pt>
          <cx:pt idx="6209">Cergy</cx:pt>
          <cx:pt idx="6210">Cergy</cx:pt>
          <cx:pt idx="6211">Cergy</cx:pt>
          <cx:pt idx="6212">Cergy</cx:pt>
          <cx:pt idx="6213">Cergy</cx:pt>
          <cx:pt idx="6214">Cergy</cx:pt>
          <cx:pt idx="6215">Cergy</cx:pt>
          <cx:pt idx="6216">Cergy</cx:pt>
          <cx:pt idx="6217">Cergy</cx:pt>
          <cx:pt idx="6218">Cergy</cx:pt>
          <cx:pt idx="6219">Cergy</cx:pt>
          <cx:pt idx="6220">Cergy</cx:pt>
          <cx:pt idx="6221">Cergy</cx:pt>
          <cx:pt idx="6222">Cergy</cx:pt>
          <cx:pt idx="6223">Cergy</cx:pt>
          <cx:pt idx="6224">Cergy</cx:pt>
          <cx:pt idx="6225">Cergy</cx:pt>
          <cx:pt idx="6226">Cergy</cx:pt>
          <cx:pt idx="6227">Cergy</cx:pt>
          <cx:pt idx="6228">Cergy</cx:pt>
          <cx:pt idx="6229">Cergy</cx:pt>
          <cx:pt idx="6230">Cergy</cx:pt>
          <cx:pt idx="6231">Cergy</cx:pt>
          <cx:pt idx="6232">Cergy</cx:pt>
          <cx:pt idx="6233">Cergy</cx:pt>
          <cx:pt idx="6234">Cergy</cx:pt>
          <cx:pt idx="6235">Cergy</cx:pt>
          <cx:pt idx="6236">Cergy</cx:pt>
          <cx:pt idx="6237">Cergy</cx:pt>
          <cx:pt idx="6238">Cergy</cx:pt>
          <cx:pt idx="6239">Cergy</cx:pt>
          <cx:pt idx="6240">Cergy</cx:pt>
          <cx:pt idx="6241">Cergy</cx:pt>
          <cx:pt idx="6242">Cergy</cx:pt>
          <cx:pt idx="6243">Cergy</cx:pt>
          <cx:pt idx="6244">Cergy</cx:pt>
          <cx:pt idx="6245">Cergy</cx:pt>
          <cx:pt idx="6246">Cergy</cx:pt>
          <cx:pt idx="6247">Cergy</cx:pt>
          <cx:pt idx="6248">Cergy</cx:pt>
          <cx:pt idx="6249">Cergy</cx:pt>
          <cx:pt idx="6250">Cergy</cx:pt>
          <cx:pt idx="6251">Cergy</cx:pt>
          <cx:pt idx="6252">Cergy</cx:pt>
          <cx:pt idx="6253">Cergy</cx:pt>
          <cx:pt idx="6254">Cergy</cx:pt>
          <cx:pt idx="6255">Cergy</cx:pt>
          <cx:pt idx="6256">Cergy</cx:pt>
          <cx:pt idx="6257">Cergy</cx:pt>
          <cx:pt idx="6258">Cergy</cx:pt>
          <cx:pt idx="6259">Cergy</cx:pt>
          <cx:pt idx="6260">Cergy</cx:pt>
          <cx:pt idx="6261">Cergy</cx:pt>
          <cx:pt idx="6262">Cergy</cx:pt>
          <cx:pt idx="6263">Cergy</cx:pt>
          <cx:pt idx="6264">Cergy</cx:pt>
          <cx:pt idx="6265">Cergy</cx:pt>
          <cx:pt idx="6266">Cergy</cx:pt>
          <cx:pt idx="6267">Cergy</cx:pt>
          <cx:pt idx="6268">Cergy</cx:pt>
          <cx:pt idx="6269">Cergy</cx:pt>
          <cx:pt idx="6270">Cergy</cx:pt>
          <cx:pt idx="6271">Cergy</cx:pt>
          <cx:pt idx="6272">Cergy</cx:pt>
          <cx:pt idx="6273">Cergy</cx:pt>
          <cx:pt idx="6274">Cergy</cx:pt>
          <cx:pt idx="6275">Cergy</cx:pt>
          <cx:pt idx="6276">Cergy</cx:pt>
          <cx:pt idx="6277">Cergy</cx:pt>
          <cx:pt idx="6278">Cergy</cx:pt>
          <cx:pt idx="6279">Cergy</cx:pt>
          <cx:pt idx="6280">Cergy</cx:pt>
          <cx:pt idx="6281">Cergy</cx:pt>
          <cx:pt idx="6282">Cergy</cx:pt>
          <cx:pt idx="6283">Cergy</cx:pt>
          <cx:pt idx="6284">Cergy</cx:pt>
          <cx:pt idx="6285">Cergy</cx:pt>
          <cx:pt idx="6286">Cergy</cx:pt>
          <cx:pt idx="6287">Cergy</cx:pt>
          <cx:pt idx="6288">Cergy</cx:pt>
          <cx:pt idx="6289">Cergy</cx:pt>
          <cx:pt idx="6290">Cergy</cx:pt>
          <cx:pt idx="6291">Cergy</cx:pt>
          <cx:pt idx="6292">Cergy</cx:pt>
          <cx:pt idx="6293">Cergy</cx:pt>
          <cx:pt idx="6294">Cergy</cx:pt>
          <cx:pt idx="6295">Cergy</cx:pt>
          <cx:pt idx="6296">Cergy</cx:pt>
          <cx:pt idx="6297">Cergy</cx:pt>
          <cx:pt idx="6298">Cergy</cx:pt>
          <cx:pt idx="6299">Cergy</cx:pt>
          <cx:pt idx="6300">Cergy</cx:pt>
          <cx:pt idx="6301">Cergy</cx:pt>
          <cx:pt idx="6302">Cergy</cx:pt>
          <cx:pt idx="6303">Cergy</cx:pt>
          <cx:pt idx="6304">Cergy</cx:pt>
          <cx:pt idx="6305">Cergy</cx:pt>
          <cx:pt idx="6306">Cergy</cx:pt>
          <cx:pt idx="6307">Cergy</cx:pt>
          <cx:pt idx="6308">Cergy</cx:pt>
          <cx:pt idx="6309">Cergy</cx:pt>
          <cx:pt idx="6310">Cergy</cx:pt>
          <cx:pt idx="6311">Cergy</cx:pt>
          <cx:pt idx="6312">Cergy</cx:pt>
          <cx:pt idx="6313">Cergy</cx:pt>
          <cx:pt idx="6314">Cergy</cx:pt>
          <cx:pt idx="6315">Cergy</cx:pt>
          <cx:pt idx="6316">Cergy</cx:pt>
          <cx:pt idx="6317">Cergy</cx:pt>
          <cx:pt idx="6318">Cergy</cx:pt>
          <cx:pt idx="6319">Cergy</cx:pt>
          <cx:pt idx="6320">Cergy</cx:pt>
          <cx:pt idx="6321">Cergy</cx:pt>
          <cx:pt idx="6322">Cergy</cx:pt>
          <cx:pt idx="6323">Cergy</cx:pt>
          <cx:pt idx="6324">Cergy</cx:pt>
          <cx:pt idx="6325">Cergy</cx:pt>
          <cx:pt idx="6326">Cergy</cx:pt>
          <cx:pt idx="6327">Cergy</cx:pt>
          <cx:pt idx="6328">Cergy</cx:pt>
          <cx:pt idx="6329">Cergy</cx:pt>
          <cx:pt idx="6330">Cergy</cx:pt>
          <cx:pt idx="6331">Cergy</cx:pt>
          <cx:pt idx="6332">Cergy</cx:pt>
          <cx:pt idx="6333">Cergy</cx:pt>
          <cx:pt idx="6334">Cergy</cx:pt>
          <cx:pt idx="6335">Cergy</cx:pt>
          <cx:pt idx="6336">Cergy</cx:pt>
          <cx:pt idx="6337">Cergy</cx:pt>
          <cx:pt idx="6338">Cergy</cx:pt>
          <cx:pt idx="6339">Cergy</cx:pt>
          <cx:pt idx="6340">Cergy</cx:pt>
          <cx:pt idx="6341">Cergy</cx:pt>
          <cx:pt idx="6342">Cergy</cx:pt>
          <cx:pt idx="6343">Cergy</cx:pt>
          <cx:pt idx="6344">Cergy</cx:pt>
          <cx:pt idx="6345">Cergy</cx:pt>
          <cx:pt idx="6346">Cergy</cx:pt>
          <cx:pt idx="6347">Cergy</cx:pt>
          <cx:pt idx="6348">Cergy</cx:pt>
          <cx:pt idx="6349">Cergy</cx:pt>
          <cx:pt idx="6350">Cergy</cx:pt>
          <cx:pt idx="6351">Cergy</cx:pt>
          <cx:pt idx="6352">Cergy</cx:pt>
          <cx:pt idx="6353">Cergy</cx:pt>
          <cx:pt idx="6354">Cergy</cx:pt>
          <cx:pt idx="6355">Cergy</cx:pt>
          <cx:pt idx="6356">Cergy</cx:pt>
          <cx:pt idx="6357">Cergy</cx:pt>
          <cx:pt idx="6358">Cergy</cx:pt>
          <cx:pt idx="6359">Cergy</cx:pt>
          <cx:pt idx="6360">Cergy</cx:pt>
          <cx:pt idx="6361">Cergy</cx:pt>
          <cx:pt idx="6362">Cergy</cx:pt>
          <cx:pt idx="6363">Cergy</cx:pt>
          <cx:pt idx="6364">Cergy</cx:pt>
          <cx:pt idx="6365">Cergy</cx:pt>
          <cx:pt idx="6366">Cergy</cx:pt>
          <cx:pt idx="6367">Cergy</cx:pt>
          <cx:pt idx="6368">Cergy</cx:pt>
          <cx:pt idx="6369">Cergy</cx:pt>
          <cx:pt idx="6370">Cergy</cx:pt>
          <cx:pt idx="6371">Cergy</cx:pt>
          <cx:pt idx="6372">Cergy</cx:pt>
          <cx:pt idx="6373">Cergy</cx:pt>
          <cx:pt idx="6374">Cergy</cx:pt>
          <cx:pt idx="6375">Cergy</cx:pt>
          <cx:pt idx="6376">Cergy</cx:pt>
          <cx:pt idx="6377">Cergy</cx:pt>
          <cx:pt idx="6378">Cergy</cx:pt>
          <cx:pt idx="6379">Cergy</cx:pt>
          <cx:pt idx="6380">Cergy</cx:pt>
          <cx:pt idx="6381">Cergy</cx:pt>
          <cx:pt idx="6382">Cergy</cx:pt>
          <cx:pt idx="6383">Cergy</cx:pt>
          <cx:pt idx="6384">Cergy</cx:pt>
          <cx:pt idx="6385">Cergy</cx:pt>
          <cx:pt idx="6386">Cergy</cx:pt>
          <cx:pt idx="6387">Cergy</cx:pt>
          <cx:pt idx="6388">Cergy</cx:pt>
          <cx:pt idx="6389">Cergy</cx:pt>
          <cx:pt idx="6390">Cergy</cx:pt>
          <cx:pt idx="6391">Cergy</cx:pt>
          <cx:pt idx="6392">Cergy</cx:pt>
          <cx:pt idx="6393">Cergy</cx:pt>
          <cx:pt idx="6394">Cergy</cx:pt>
          <cx:pt idx="6395">Cergy</cx:pt>
          <cx:pt idx="6396">Cergy</cx:pt>
          <cx:pt idx="6397">Cergy</cx:pt>
          <cx:pt idx="6398">Cergy</cx:pt>
          <cx:pt idx="6399">Cergy</cx:pt>
          <cx:pt idx="6400">Cergy</cx:pt>
          <cx:pt idx="6401">Cergy</cx:pt>
          <cx:pt idx="6402">Cergy</cx:pt>
          <cx:pt idx="6403">Cergy</cx:pt>
          <cx:pt idx="6404">Cergy</cx:pt>
          <cx:pt idx="6405">Cergy</cx:pt>
          <cx:pt idx="6406">Cergy</cx:pt>
          <cx:pt idx="6407">Cergy</cx:pt>
          <cx:pt idx="6408">Cergy</cx:pt>
          <cx:pt idx="6409">Cergy</cx:pt>
          <cx:pt idx="6410">Cergy</cx:pt>
          <cx:pt idx="6411">Cergy</cx:pt>
          <cx:pt idx="6412">Cergy</cx:pt>
          <cx:pt idx="6413">Cergy</cx:pt>
          <cx:pt idx="6414">Cergy</cx:pt>
          <cx:pt idx="6415">Cergy</cx:pt>
          <cx:pt idx="6416">Cergy</cx:pt>
          <cx:pt idx="6417">Cergy</cx:pt>
          <cx:pt idx="6418">Cergy</cx:pt>
          <cx:pt idx="6419">Cergy</cx:pt>
          <cx:pt idx="6420">Cergy</cx:pt>
          <cx:pt idx="6421">Cergy</cx:pt>
          <cx:pt idx="6422">Cergy</cx:pt>
          <cx:pt idx="6423">Cergy</cx:pt>
          <cx:pt idx="6424">Cergy</cx:pt>
          <cx:pt idx="6425">Cergy</cx:pt>
          <cx:pt idx="6426">Cergy</cx:pt>
          <cx:pt idx="6427">Cergy</cx:pt>
          <cx:pt idx="6428">Cergy</cx:pt>
          <cx:pt idx="6429">Cergy</cx:pt>
          <cx:pt idx="6430">Cergy</cx:pt>
          <cx:pt idx="6431">Cergy</cx:pt>
          <cx:pt idx="6432">Cergy</cx:pt>
          <cx:pt idx="6433">Cergy</cx:pt>
          <cx:pt idx="6434">Cergy</cx:pt>
          <cx:pt idx="6435">Cergy</cx:pt>
          <cx:pt idx="6436">Cergy</cx:pt>
          <cx:pt idx="6437">Cergy</cx:pt>
          <cx:pt idx="6438">Cergy</cx:pt>
          <cx:pt idx="6439">Cergy</cx:pt>
          <cx:pt idx="6440">Cergy</cx:pt>
          <cx:pt idx="6441">Cergy</cx:pt>
          <cx:pt idx="6442">Cergy</cx:pt>
          <cx:pt idx="6443">Cergy</cx:pt>
          <cx:pt idx="6444">Cergy</cx:pt>
          <cx:pt idx="6445">Cergy</cx:pt>
          <cx:pt idx="6446">Cergy</cx:pt>
          <cx:pt idx="6447">Cergy</cx:pt>
          <cx:pt idx="6448">Cergy</cx:pt>
          <cx:pt idx="6449">Cergy</cx:pt>
          <cx:pt idx="6450">Cergy</cx:pt>
          <cx:pt idx="6451">Cergy</cx:pt>
          <cx:pt idx="6452">Cergy</cx:pt>
          <cx:pt idx="6453">Cergy</cx:pt>
          <cx:pt idx="6454">Cergy</cx:pt>
          <cx:pt idx="6455">Cergy</cx:pt>
          <cx:pt idx="6456">Cergy</cx:pt>
          <cx:pt idx="6457">Cergy</cx:pt>
          <cx:pt idx="6458">Cergy</cx:pt>
          <cx:pt idx="6459">Cergy</cx:pt>
          <cx:pt idx="6460">Cergy</cx:pt>
          <cx:pt idx="6461">Cergy</cx:pt>
          <cx:pt idx="6462">Cergy</cx:pt>
          <cx:pt idx="6463">Cergy</cx:pt>
          <cx:pt idx="6464">Cergy</cx:pt>
          <cx:pt idx="6465">Cergy</cx:pt>
          <cx:pt idx="6466">Cergy</cx:pt>
          <cx:pt idx="6467">Cergy</cx:pt>
          <cx:pt idx="6468">Cergy</cx:pt>
          <cx:pt idx="6469">Cergy</cx:pt>
          <cx:pt idx="6470">Cergy</cx:pt>
          <cx:pt idx="6471">Cergy</cx:pt>
          <cx:pt idx="6472">Cergy</cx:pt>
          <cx:pt idx="6473">Cergy</cx:pt>
          <cx:pt idx="6474">Cergy</cx:pt>
          <cx:pt idx="6475">Cergy</cx:pt>
          <cx:pt idx="6476">Cergy</cx:pt>
          <cx:pt idx="6477">Cergy</cx:pt>
          <cx:pt idx="6478">Cergy</cx:pt>
          <cx:pt idx="6479">Cergy</cx:pt>
          <cx:pt idx="6480">Cergy</cx:pt>
          <cx:pt idx="6481">Cergy</cx:pt>
          <cx:pt idx="6482">Cergy</cx:pt>
          <cx:pt idx="6483">Cergy</cx:pt>
          <cx:pt idx="6484">Cergy</cx:pt>
          <cx:pt idx="6485">Cergy</cx:pt>
          <cx:pt idx="6486">Cergy</cx:pt>
          <cx:pt idx="6487">Cergy</cx:pt>
          <cx:pt idx="6488">Cergy</cx:pt>
          <cx:pt idx="6489">Cergy</cx:pt>
          <cx:pt idx="6490">Cergy</cx:pt>
          <cx:pt idx="6491">Cergy</cx:pt>
          <cx:pt idx="6492">Cergy</cx:pt>
          <cx:pt idx="6493">Cergy</cx:pt>
          <cx:pt idx="6494">Cergy</cx:pt>
          <cx:pt idx="6495">Cergy</cx:pt>
          <cx:pt idx="6496">Cergy</cx:pt>
          <cx:pt idx="6497">Cergy</cx:pt>
          <cx:pt idx="6498">Cergy</cx:pt>
          <cx:pt idx="6499">Cergy</cx:pt>
          <cx:pt idx="6500">Cergy</cx:pt>
          <cx:pt idx="6501">Cergy</cx:pt>
          <cx:pt idx="6502">Cergy</cx:pt>
          <cx:pt idx="6503">Cergy</cx:pt>
          <cx:pt idx="6504">Cergy</cx:pt>
          <cx:pt idx="6505">Cergy</cx:pt>
          <cx:pt idx="6506">Cergy</cx:pt>
          <cx:pt idx="6507">Cergy</cx:pt>
          <cx:pt idx="6508">Cergy</cx:pt>
          <cx:pt idx="6509">Cergy</cx:pt>
          <cx:pt idx="6510">Cergy</cx:pt>
          <cx:pt idx="6511">Cergy</cx:pt>
          <cx:pt idx="6512">Cergy</cx:pt>
          <cx:pt idx="6513">Cergy</cx:pt>
          <cx:pt idx="6514">Cergy</cx:pt>
          <cx:pt idx="6515">Cergy</cx:pt>
          <cx:pt idx="6516">Cergy</cx:pt>
          <cx:pt idx="6517">Cergy</cx:pt>
          <cx:pt idx="6518">Cergy</cx:pt>
          <cx:pt idx="6519">Cergy</cx:pt>
          <cx:pt idx="6520">Cergy</cx:pt>
          <cx:pt idx="6521">Cergy</cx:pt>
          <cx:pt idx="6522">Cergy</cx:pt>
          <cx:pt idx="6523">Cergy</cx:pt>
          <cx:pt idx="6524">Cergy</cx:pt>
          <cx:pt idx="6525">Cergy</cx:pt>
          <cx:pt idx="6526">Cergy</cx:pt>
          <cx:pt idx="6527">Cergy</cx:pt>
          <cx:pt idx="6528">Cergy</cx:pt>
          <cx:pt idx="6529">Cergy</cx:pt>
          <cx:pt idx="6530">Cergy</cx:pt>
          <cx:pt idx="6531">Cergy</cx:pt>
          <cx:pt idx="6532">Cergy</cx:pt>
          <cx:pt idx="6533">Cergy</cx:pt>
          <cx:pt idx="6534">Cergy</cx:pt>
          <cx:pt idx="6535">Cergy</cx:pt>
          <cx:pt idx="6536">Cergy</cx:pt>
          <cx:pt idx="6537">Cergy</cx:pt>
          <cx:pt idx="6538">Cergy</cx:pt>
          <cx:pt idx="6539">Cergy</cx:pt>
          <cx:pt idx="6540">Cergy</cx:pt>
          <cx:pt idx="6541">Cergy</cx:pt>
          <cx:pt idx="6542">Cergy</cx:pt>
          <cx:pt idx="6543">Cergy</cx:pt>
          <cx:pt idx="6544">Cergy</cx:pt>
          <cx:pt idx="6545">Cergy</cx:pt>
          <cx:pt idx="6546">Cergy</cx:pt>
          <cx:pt idx="6547">Cergy</cx:pt>
          <cx:pt idx="6548">Cergy</cx:pt>
          <cx:pt idx="6549">Cergy</cx:pt>
          <cx:pt idx="6550">Cergy</cx:pt>
          <cx:pt idx="6551">Cergy</cx:pt>
          <cx:pt idx="6552">Cergy</cx:pt>
          <cx:pt idx="6553">Cergy</cx:pt>
          <cx:pt idx="6554">Cergy</cx:pt>
          <cx:pt idx="6555">Cergy</cx:pt>
          <cx:pt idx="6556">Cergy</cx:pt>
          <cx:pt idx="6557">Cergy</cx:pt>
          <cx:pt idx="6558">Cergy</cx:pt>
          <cx:pt idx="6559">Cergy</cx:pt>
          <cx:pt idx="6560">Cergy</cx:pt>
          <cx:pt idx="6561">Cergy</cx:pt>
          <cx:pt idx="6562">Cergy</cx:pt>
          <cx:pt idx="6563">Cergy</cx:pt>
          <cx:pt idx="6564">Cergy</cx:pt>
          <cx:pt idx="6565">Cergy</cx:pt>
          <cx:pt idx="6566">Cergy</cx:pt>
          <cx:pt idx="6567">Cergy</cx:pt>
          <cx:pt idx="6568">Cergy</cx:pt>
          <cx:pt idx="6569">Cergy</cx:pt>
          <cx:pt idx="6570">Cergy</cx:pt>
          <cx:pt idx="6571">Cergy</cx:pt>
          <cx:pt idx="6572">Cergy</cx:pt>
          <cx:pt idx="6573">Cergy</cx:pt>
          <cx:pt idx="6574">Cergy</cx:pt>
          <cx:pt idx="6575">Cergy</cx:pt>
          <cx:pt idx="6576">Cergy</cx:pt>
          <cx:pt idx="6577">Cergy</cx:pt>
          <cx:pt idx="6578">Cergy</cx:pt>
          <cx:pt idx="6579">Cergy</cx:pt>
          <cx:pt idx="6580">Cergy</cx:pt>
          <cx:pt idx="6581">Cergy</cx:pt>
          <cx:pt idx="6582">Cergy</cx:pt>
          <cx:pt idx="6583">Cergy</cx:pt>
          <cx:pt idx="6584">Cergy</cx:pt>
          <cx:pt idx="6585">Cergy</cx:pt>
          <cx:pt idx="6586">Cergy</cx:pt>
          <cx:pt idx="6587">Cergy</cx:pt>
          <cx:pt idx="6588">Cergy</cx:pt>
          <cx:pt idx="6589">Cergy</cx:pt>
          <cx:pt idx="6590">Cergy</cx:pt>
          <cx:pt idx="6591">Cergy</cx:pt>
          <cx:pt idx="6592">Cergy</cx:pt>
          <cx:pt idx="6593">Cergy</cx:pt>
          <cx:pt idx="6594">Cergy</cx:pt>
          <cx:pt idx="6595">Cergy</cx:pt>
          <cx:pt idx="6596">Cergy</cx:pt>
          <cx:pt idx="6597">Cergy</cx:pt>
          <cx:pt idx="6598">Cergy</cx:pt>
          <cx:pt idx="6599">Cergy</cx:pt>
          <cx:pt idx="6600">Cergy</cx:pt>
          <cx:pt idx="6601">Cergy</cx:pt>
          <cx:pt idx="6602">Cergy</cx:pt>
          <cx:pt idx="6603">Cergy</cx:pt>
          <cx:pt idx="6604">Cergy</cx:pt>
          <cx:pt idx="6605">Cergy</cx:pt>
          <cx:pt idx="6606">Cergy</cx:pt>
          <cx:pt idx="6607">Cergy</cx:pt>
          <cx:pt idx="6608">Cergy</cx:pt>
          <cx:pt idx="6609">Cergy</cx:pt>
          <cx:pt idx="6610">Cergy</cx:pt>
          <cx:pt idx="6611">Cergy</cx:pt>
          <cx:pt idx="6612">Cergy</cx:pt>
          <cx:pt idx="6613">Cergy</cx:pt>
          <cx:pt idx="6614">Cergy</cx:pt>
          <cx:pt idx="6615">Cergy</cx:pt>
          <cx:pt idx="6616">Cergy</cx:pt>
          <cx:pt idx="6617">Cergy</cx:pt>
          <cx:pt idx="6618">Cergy</cx:pt>
          <cx:pt idx="6619">Cergy</cx:pt>
          <cx:pt idx="6620">Cergy</cx:pt>
          <cx:pt idx="6621">Cergy</cx:pt>
          <cx:pt idx="6622">Cergy</cx:pt>
          <cx:pt idx="6623">Cergy</cx:pt>
          <cx:pt idx="6624">Cergy</cx:pt>
          <cx:pt idx="6625">Cergy</cx:pt>
          <cx:pt idx="6626">Cergy</cx:pt>
          <cx:pt idx="6627">Cergy</cx:pt>
          <cx:pt idx="6628">Cergy</cx:pt>
          <cx:pt idx="6629">Cergy</cx:pt>
          <cx:pt idx="6630">Cergy</cx:pt>
          <cx:pt idx="6631">Cergy</cx:pt>
          <cx:pt idx="6632">Cergy</cx:pt>
          <cx:pt idx="6633">Cergy</cx:pt>
          <cx:pt idx="6634">Cergy</cx:pt>
          <cx:pt idx="6635">Cergy</cx:pt>
          <cx:pt idx="6636">Cergy</cx:pt>
          <cx:pt idx="6637">Cergy</cx:pt>
          <cx:pt idx="6638">Cergy</cx:pt>
          <cx:pt idx="6639">Cergy</cx:pt>
          <cx:pt idx="6640">Cergy</cx:pt>
          <cx:pt idx="6641">Cergy</cx:pt>
          <cx:pt idx="6642">Cergy</cx:pt>
          <cx:pt idx="6643">Cergy</cx:pt>
          <cx:pt idx="6644">Cergy</cx:pt>
          <cx:pt idx="6645">Cergy</cx:pt>
          <cx:pt idx="6646">Cergy</cx:pt>
          <cx:pt idx="6647">Cergy</cx:pt>
          <cx:pt idx="6648">Cergy</cx:pt>
          <cx:pt idx="6649">Cergy</cx:pt>
          <cx:pt idx="6650">Cergy</cx:pt>
          <cx:pt idx="6651">Cergy</cx:pt>
          <cx:pt idx="6652">Cergy</cx:pt>
          <cx:pt idx="6653">Cergy</cx:pt>
          <cx:pt idx="6654">Cergy</cx:pt>
          <cx:pt idx="6655">Cergy</cx:pt>
          <cx:pt idx="6656">Cergy</cx:pt>
          <cx:pt idx="6657">Cergy</cx:pt>
          <cx:pt idx="6658">Cergy</cx:pt>
          <cx:pt idx="6659">Cergy</cx:pt>
          <cx:pt idx="6660">Cergy</cx:pt>
          <cx:pt idx="6661">Cergy</cx:pt>
          <cx:pt idx="6662">Cergy</cx:pt>
          <cx:pt idx="6663">Cergy</cx:pt>
          <cx:pt idx="6664">Cergy</cx:pt>
          <cx:pt idx="6665">Cergy</cx:pt>
          <cx:pt idx="6666">Cergy</cx:pt>
          <cx:pt idx="6667">Cergy</cx:pt>
          <cx:pt idx="6668">Cergy</cx:pt>
          <cx:pt idx="6669">Cergy</cx:pt>
          <cx:pt idx="6670">Cergy</cx:pt>
          <cx:pt idx="6671">Cergy</cx:pt>
          <cx:pt idx="6672">Cergy</cx:pt>
          <cx:pt idx="6673">Cergy</cx:pt>
          <cx:pt idx="6674">Cergy</cx:pt>
          <cx:pt idx="6675">Cergy</cx:pt>
          <cx:pt idx="6676">Cergy</cx:pt>
          <cx:pt idx="6677">Cergy</cx:pt>
          <cx:pt idx="6678">Cergy</cx:pt>
          <cx:pt idx="6679">Cergy</cx:pt>
          <cx:pt idx="6680">Cergy</cx:pt>
          <cx:pt idx="6681">Cergy</cx:pt>
          <cx:pt idx="6682">Cergy</cx:pt>
          <cx:pt idx="6683">Cergy</cx:pt>
          <cx:pt idx="6684">Cergy</cx:pt>
          <cx:pt idx="6685">Cergy</cx:pt>
          <cx:pt idx="6686">Cergy</cx:pt>
          <cx:pt idx="6687">Cergy</cx:pt>
          <cx:pt idx="6688">Cergy</cx:pt>
          <cx:pt idx="6689">Cergy</cx:pt>
          <cx:pt idx="6690">Cergy</cx:pt>
          <cx:pt idx="6691">Cergy</cx:pt>
          <cx:pt idx="6692">Cergy</cx:pt>
          <cx:pt idx="6693">Cergy</cx:pt>
          <cx:pt idx="6694">Cergy</cx:pt>
          <cx:pt idx="6695">Cergy</cx:pt>
          <cx:pt idx="6696">Cergy</cx:pt>
          <cx:pt idx="6697">Cergy</cx:pt>
          <cx:pt idx="6698">Cergy</cx:pt>
          <cx:pt idx="6699">Cergy</cx:pt>
          <cx:pt idx="6700">Cergy</cx:pt>
          <cx:pt idx="6701">Cergy</cx:pt>
          <cx:pt idx="6702">Cergy</cx:pt>
          <cx:pt idx="6703">Cergy</cx:pt>
          <cx:pt idx="6704">Cergy</cx:pt>
          <cx:pt idx="6705">Cergy</cx:pt>
          <cx:pt idx="6706">Cergy</cx:pt>
          <cx:pt idx="6707">Cergy</cx:pt>
          <cx:pt idx="6708">Cergy</cx:pt>
          <cx:pt idx="6709">Cergy</cx:pt>
          <cx:pt idx="6710">Cergy</cx:pt>
          <cx:pt idx="6711">Cergy</cx:pt>
          <cx:pt idx="6712">Cergy</cx:pt>
          <cx:pt idx="6713">Cergy</cx:pt>
          <cx:pt idx="6714">Cergy</cx:pt>
          <cx:pt idx="6715">Cergy</cx:pt>
          <cx:pt idx="6716">Cergy</cx:pt>
          <cx:pt idx="6717">Cergy</cx:pt>
          <cx:pt idx="6718">Cergy</cx:pt>
          <cx:pt idx="6719">Cergy</cx:pt>
          <cx:pt idx="6720">Cergy</cx:pt>
          <cx:pt idx="6721">Cergy</cx:pt>
          <cx:pt idx="6722">Cergy</cx:pt>
          <cx:pt idx="6723">Cergy</cx:pt>
          <cx:pt idx="6724">Cergy</cx:pt>
          <cx:pt idx="6725">Cergy</cx:pt>
          <cx:pt idx="6726">Cergy</cx:pt>
          <cx:pt idx="6727">Cergy</cx:pt>
          <cx:pt idx="6728">Cergy</cx:pt>
          <cx:pt idx="6729">Cergy</cx:pt>
          <cx:pt idx="6730">Cergy</cx:pt>
          <cx:pt idx="6731">Cergy</cx:pt>
          <cx:pt idx="6732">Cergy</cx:pt>
          <cx:pt idx="6733">Cergy</cx:pt>
          <cx:pt idx="6734">Cergy</cx:pt>
          <cx:pt idx="6735">Cergy</cx:pt>
          <cx:pt idx="6736">Cergy</cx:pt>
          <cx:pt idx="6737">Cergy</cx:pt>
          <cx:pt idx="6738">Cergy</cx:pt>
          <cx:pt idx="6739">Cergy</cx:pt>
          <cx:pt idx="6740">Cergy</cx:pt>
          <cx:pt idx="6741">Cergy</cx:pt>
          <cx:pt idx="6742">Cergy</cx:pt>
          <cx:pt idx="6743">Cergy</cx:pt>
          <cx:pt idx="6744">Cergy</cx:pt>
          <cx:pt idx="6745">Cergy</cx:pt>
          <cx:pt idx="6746">Cergy</cx:pt>
          <cx:pt idx="6747">Cergy</cx:pt>
          <cx:pt idx="6748">Cergy</cx:pt>
          <cx:pt idx="6749">Cergy</cx:pt>
          <cx:pt idx="6750">Cergy</cx:pt>
          <cx:pt idx="6751">Cergy</cx:pt>
          <cx:pt idx="6752">Cergy</cx:pt>
          <cx:pt idx="6753">Cergy</cx:pt>
          <cx:pt idx="6754">Cergy</cx:pt>
          <cx:pt idx="6755">Cergy</cx:pt>
          <cx:pt idx="6756">Cergy</cx:pt>
          <cx:pt idx="6757">Cergy</cx:pt>
          <cx:pt idx="6758">Cergy</cx:pt>
          <cx:pt idx="6759">Cergy</cx:pt>
          <cx:pt idx="6760">Cergy</cx:pt>
          <cx:pt idx="6761">Cergy</cx:pt>
          <cx:pt idx="6762">Cergy</cx:pt>
          <cx:pt idx="6763">Cergy</cx:pt>
          <cx:pt idx="6764">Cergy</cx:pt>
          <cx:pt idx="6765">Cergy</cx:pt>
          <cx:pt idx="6766">Cergy</cx:pt>
          <cx:pt idx="6767">Cergy</cx:pt>
          <cx:pt idx="6768">Cergy</cx:pt>
          <cx:pt idx="6769">Cergy</cx:pt>
          <cx:pt idx="6770">Cergy</cx:pt>
          <cx:pt idx="6771">Cergy</cx:pt>
          <cx:pt idx="6772">Cergy</cx:pt>
          <cx:pt idx="6773">Cergy</cx:pt>
          <cx:pt idx="6774">Cergy</cx:pt>
          <cx:pt idx="6775">Cergy</cx:pt>
          <cx:pt idx="6776">Cergy</cx:pt>
          <cx:pt idx="6777">Cergy</cx:pt>
          <cx:pt idx="6778">Cergy</cx:pt>
          <cx:pt idx="6779">Cergy</cx:pt>
          <cx:pt idx="6780">Cergy</cx:pt>
          <cx:pt idx="6781">Cergy</cx:pt>
          <cx:pt idx="6782">Cergy</cx:pt>
          <cx:pt idx="6783">Cergy</cx:pt>
          <cx:pt idx="6784">Cergy</cx:pt>
          <cx:pt idx="6785">Cergy</cx:pt>
          <cx:pt idx="6786">Cergy</cx:pt>
          <cx:pt idx="6787">Cergy</cx:pt>
          <cx:pt idx="6788">Cergy</cx:pt>
          <cx:pt idx="6789">Cergy</cx:pt>
          <cx:pt idx="6790">Cergy</cx:pt>
          <cx:pt idx="6791">Cergy</cx:pt>
          <cx:pt idx="6792">Cergy</cx:pt>
          <cx:pt idx="6793">Cergy</cx:pt>
          <cx:pt idx="6794">Cergy</cx:pt>
          <cx:pt idx="6795">Cergy</cx:pt>
          <cx:pt idx="6796">Cergy</cx:pt>
          <cx:pt idx="6797">Cergy</cx:pt>
          <cx:pt idx="6798">Cergy</cx:pt>
          <cx:pt idx="6799">Cergy</cx:pt>
          <cx:pt idx="6800">Cergy</cx:pt>
          <cx:pt idx="6801">Cergy</cx:pt>
          <cx:pt idx="6802">Cergy</cx:pt>
          <cx:pt idx="6803">Cergy</cx:pt>
          <cx:pt idx="6804">Cergy</cx:pt>
          <cx:pt idx="6805">Cergy</cx:pt>
          <cx:pt idx="6806">Cergy</cx:pt>
          <cx:pt idx="6807">Cergy</cx:pt>
          <cx:pt idx="6808">Cergy</cx:pt>
          <cx:pt idx="6809">Cergy</cx:pt>
          <cx:pt idx="6810">Cergy</cx:pt>
          <cx:pt idx="6811">Cergy</cx:pt>
          <cx:pt idx="6812">Cergy</cx:pt>
          <cx:pt idx="6813">Cergy</cx:pt>
          <cx:pt idx="6814">Cergy</cx:pt>
          <cx:pt idx="6815">Cergy</cx:pt>
          <cx:pt idx="6816">Cergy</cx:pt>
          <cx:pt idx="6817">Cergy</cx:pt>
          <cx:pt idx="6818">Cergy</cx:pt>
          <cx:pt idx="6819">Cergy</cx:pt>
          <cx:pt idx="6820">Cergy</cx:pt>
          <cx:pt idx="6821">Cergy</cx:pt>
          <cx:pt idx="6822">Cergy</cx:pt>
          <cx:pt idx="6823">Cergy</cx:pt>
          <cx:pt idx="6824">Cergy</cx:pt>
          <cx:pt idx="6825">Cergy</cx:pt>
          <cx:pt idx="6826">Cergy</cx:pt>
          <cx:pt idx="6827">Cergy</cx:pt>
          <cx:pt idx="6828">Cergy</cx:pt>
          <cx:pt idx="6829">Cergy</cx:pt>
          <cx:pt idx="6830">Cergy</cx:pt>
          <cx:pt idx="6831">Cergy</cx:pt>
          <cx:pt idx="6832">Cergy</cx:pt>
          <cx:pt idx="6833">Cergy</cx:pt>
          <cx:pt idx="6834">Cergy</cx:pt>
          <cx:pt idx="6835">Cergy</cx:pt>
          <cx:pt idx="6836">Cergy</cx:pt>
          <cx:pt idx="6837">Cergy</cx:pt>
          <cx:pt idx="6838">Cergy</cx:pt>
          <cx:pt idx="6839">Cergy</cx:pt>
          <cx:pt idx="6840">Cergy</cx:pt>
          <cx:pt idx="6841">Cergy</cx:pt>
          <cx:pt idx="6842">Cergy</cx:pt>
          <cx:pt idx="6843">Cergy</cx:pt>
          <cx:pt idx="6844">Cergy</cx:pt>
          <cx:pt idx="6845">Cergy</cx:pt>
          <cx:pt idx="6846">Cergy</cx:pt>
          <cx:pt idx="6847">Cergy</cx:pt>
          <cx:pt idx="6848">Cergy</cx:pt>
          <cx:pt idx="6849">Cergy</cx:pt>
          <cx:pt idx="6850">Cergy</cx:pt>
          <cx:pt idx="6851">Cergy</cx:pt>
          <cx:pt idx="6852">Cergy</cx:pt>
          <cx:pt idx="6853">Cergy</cx:pt>
          <cx:pt idx="6854">Cergy</cx:pt>
          <cx:pt idx="6855">Cergy</cx:pt>
          <cx:pt idx="6856">Cergy</cx:pt>
          <cx:pt idx="6857">Cergy</cx:pt>
          <cx:pt idx="6858">Cergy</cx:pt>
          <cx:pt idx="6859">Cergy</cx:pt>
          <cx:pt idx="6860">Cergy</cx:pt>
          <cx:pt idx="6861">Cergy</cx:pt>
          <cx:pt idx="6862">Cergy</cx:pt>
          <cx:pt idx="6863">Cergy</cx:pt>
          <cx:pt idx="6864">Cergy</cx:pt>
          <cx:pt idx="6865">Cergy</cx:pt>
          <cx:pt idx="6866">Cergy</cx:pt>
          <cx:pt idx="6867">Cergy</cx:pt>
          <cx:pt idx="6868">Cergy</cx:pt>
          <cx:pt idx="6869">Cergy</cx:pt>
          <cx:pt idx="6870">Cergy</cx:pt>
          <cx:pt idx="6871">Cergy</cx:pt>
          <cx:pt idx="6872">Cergy</cx:pt>
          <cx:pt idx="6873">Cergy</cx:pt>
          <cx:pt idx="6874">Cergy</cx:pt>
          <cx:pt idx="6875">Cergy</cx:pt>
          <cx:pt idx="6876">Cergy</cx:pt>
          <cx:pt idx="6877">Cergy</cx:pt>
          <cx:pt idx="6878">Cergy</cx:pt>
          <cx:pt idx="6879">Cergy</cx:pt>
          <cx:pt idx="6880">Cergy</cx:pt>
          <cx:pt idx="6881">Cergy</cx:pt>
          <cx:pt idx="6882">Cergy</cx:pt>
          <cx:pt idx="6883">Cergy</cx:pt>
          <cx:pt idx="6884">Cergy</cx:pt>
          <cx:pt idx="6885">Cergy</cx:pt>
          <cx:pt idx="6886">Cergy</cx:pt>
          <cx:pt idx="6887">Cergy</cx:pt>
          <cx:pt idx="6888">Cergy</cx:pt>
          <cx:pt idx="6889">Cergy</cx:pt>
          <cx:pt idx="6890">Cergy</cx:pt>
          <cx:pt idx="6891">Cergy</cx:pt>
          <cx:pt idx="6892">Cergy</cx:pt>
          <cx:pt idx="6893">Cergy</cx:pt>
          <cx:pt idx="6894">Cergy</cx:pt>
          <cx:pt idx="6895">Cergy</cx:pt>
          <cx:pt idx="6896">Cergy</cx:pt>
          <cx:pt idx="6897">Cergy</cx:pt>
          <cx:pt idx="6898">Cergy</cx:pt>
          <cx:pt idx="6899">Cergy</cx:pt>
          <cx:pt idx="6900">Cergy</cx:pt>
          <cx:pt idx="6901">Cergy</cx:pt>
          <cx:pt idx="6902">Cergy</cx:pt>
          <cx:pt idx="6903">Cergy</cx:pt>
          <cx:pt idx="6904">Cergy</cx:pt>
          <cx:pt idx="6905">Cergy</cx:pt>
          <cx:pt idx="6906">Cergy</cx:pt>
          <cx:pt idx="6907">Cergy</cx:pt>
          <cx:pt idx="6908">Cergy</cx:pt>
          <cx:pt idx="6909">Cergy</cx:pt>
          <cx:pt idx="6910">Cergy</cx:pt>
          <cx:pt idx="6911">Cergy</cx:pt>
          <cx:pt idx="6912">Cergy</cx:pt>
          <cx:pt idx="6913">Cergy</cx:pt>
          <cx:pt idx="6914">Cergy</cx:pt>
          <cx:pt idx="6915">Cergy</cx:pt>
          <cx:pt idx="6916">Cergy</cx:pt>
          <cx:pt idx="6917">Cergy</cx:pt>
          <cx:pt idx="6918">Cergy</cx:pt>
          <cx:pt idx="6919">Cergy</cx:pt>
          <cx:pt idx="6920">Cergy</cx:pt>
          <cx:pt idx="6921">Cergy</cx:pt>
          <cx:pt idx="6922">Cergy</cx:pt>
          <cx:pt idx="6923">Cergy</cx:pt>
          <cx:pt idx="6924">Cergy</cx:pt>
          <cx:pt idx="6925">Cergy</cx:pt>
          <cx:pt idx="6926">Cergy</cx:pt>
          <cx:pt idx="6927">Cergy</cx:pt>
          <cx:pt idx="6928">Cergy</cx:pt>
          <cx:pt idx="6929">Cergy</cx:pt>
          <cx:pt idx="6930">Cergy</cx:pt>
          <cx:pt idx="6931">Cergy</cx:pt>
          <cx:pt idx="6932">Cergy</cx:pt>
          <cx:pt idx="6933">Cergy</cx:pt>
          <cx:pt idx="6934">Cergy</cx:pt>
          <cx:pt idx="6935">Cergy</cx:pt>
          <cx:pt idx="6936">Cergy</cx:pt>
          <cx:pt idx="6937">Cergy</cx:pt>
          <cx:pt idx="6938">Cergy</cx:pt>
          <cx:pt idx="6939">Cergy</cx:pt>
          <cx:pt idx="6940">Cergy</cx:pt>
          <cx:pt idx="6941">Cergy</cx:pt>
          <cx:pt idx="6942">Cergy</cx:pt>
          <cx:pt idx="6943">Cergy</cx:pt>
          <cx:pt idx="6944">Cergy</cx:pt>
          <cx:pt idx="6945">Cergy</cx:pt>
          <cx:pt idx="6946">Cergy</cx:pt>
          <cx:pt idx="6947">Cergy</cx:pt>
          <cx:pt idx="6948">Cergy</cx:pt>
          <cx:pt idx="6949">Cergy</cx:pt>
          <cx:pt idx="6950">Cergy</cx:pt>
          <cx:pt idx="6951">Cergy</cx:pt>
          <cx:pt idx="6952">Cergy</cx:pt>
          <cx:pt idx="6953">Cergy</cx:pt>
          <cx:pt idx="6954">Cergy</cx:pt>
          <cx:pt idx="6955">Cergy</cx:pt>
          <cx:pt idx="6956">Cergy</cx:pt>
          <cx:pt idx="6957">Cergy</cx:pt>
          <cx:pt idx="6958">Cergy</cx:pt>
          <cx:pt idx="6959">Cergy</cx:pt>
          <cx:pt idx="6960">Cergy</cx:pt>
          <cx:pt idx="6961">Cergy</cx:pt>
          <cx:pt idx="6962">Cergy</cx:pt>
          <cx:pt idx="6963">Cergy</cx:pt>
          <cx:pt idx="6964">Cergy</cx:pt>
          <cx:pt idx="6965">Cergy</cx:pt>
          <cx:pt idx="6966">Cergy</cx:pt>
          <cx:pt idx="6967">Cergy</cx:pt>
          <cx:pt idx="6968">Cergy</cx:pt>
          <cx:pt idx="6969">Cergy</cx:pt>
          <cx:pt idx="6970">Cergy</cx:pt>
          <cx:pt idx="6971">Cergy</cx:pt>
          <cx:pt idx="6972">Cergy</cx:pt>
          <cx:pt idx="6973">Cergy</cx:pt>
          <cx:pt idx="6974">Cergy</cx:pt>
          <cx:pt idx="6975">Cergy</cx:pt>
          <cx:pt idx="6976">Cergy</cx:pt>
          <cx:pt idx="6977">Cergy</cx:pt>
          <cx:pt idx="6978">Cergy</cx:pt>
          <cx:pt idx="6979">Cergy</cx:pt>
          <cx:pt idx="6980">Cergy</cx:pt>
          <cx:pt idx="6981">Cergy</cx:pt>
          <cx:pt idx="6982">Cergy</cx:pt>
          <cx:pt idx="6983">Cergy</cx:pt>
          <cx:pt idx="6984">Cergy</cx:pt>
          <cx:pt idx="6985">Cergy</cx:pt>
          <cx:pt idx="6986">Cergy</cx:pt>
          <cx:pt idx="6987">Cergy</cx:pt>
          <cx:pt idx="6988">Cergy</cx:pt>
          <cx:pt idx="6989">Cergy</cx:pt>
          <cx:pt idx="6990">Cergy</cx:pt>
          <cx:pt idx="6991">Cergy</cx:pt>
          <cx:pt idx="6992">Cergy</cx:pt>
          <cx:pt idx="6993">Cergy</cx:pt>
          <cx:pt idx="6994">Cergy</cx:pt>
          <cx:pt idx="6995">Cergy</cx:pt>
          <cx:pt idx="6996">Cergy</cx:pt>
          <cx:pt idx="6997">Cergy</cx:pt>
          <cx:pt idx="6998">Cergy</cx:pt>
          <cx:pt idx="6999">Cergy</cx:pt>
          <cx:pt idx="7000">Cergy</cx:pt>
          <cx:pt idx="7001">Cergy</cx:pt>
          <cx:pt idx="7002">Cergy</cx:pt>
          <cx:pt idx="7003">Cergy</cx:pt>
          <cx:pt idx="7004">Cergy</cx:pt>
          <cx:pt idx="7005">Cergy</cx:pt>
          <cx:pt idx="7006">Cergy</cx:pt>
          <cx:pt idx="7007">Cergy</cx:pt>
          <cx:pt idx="7008">Cergy</cx:pt>
          <cx:pt idx="7009">Cergy</cx:pt>
          <cx:pt idx="7010">Cergy</cx:pt>
          <cx:pt idx="7011">Cergy</cx:pt>
          <cx:pt idx="7012">Cergy</cx:pt>
          <cx:pt idx="7013">Cergy</cx:pt>
          <cx:pt idx="7014">Cergy</cx:pt>
          <cx:pt idx="7015">Cergy</cx:pt>
          <cx:pt idx="7016">Cergy</cx:pt>
          <cx:pt idx="7017">Cergy</cx:pt>
          <cx:pt idx="7018">Cergy</cx:pt>
          <cx:pt idx="7019">Cergy</cx:pt>
          <cx:pt idx="7020">Cergy</cx:pt>
          <cx:pt idx="7021">Cergy</cx:pt>
          <cx:pt idx="7022">Cergy</cx:pt>
          <cx:pt idx="7023">Cergy</cx:pt>
          <cx:pt idx="7024">Cergy</cx:pt>
          <cx:pt idx="7025">Cergy</cx:pt>
          <cx:pt idx="7026">Cergy</cx:pt>
          <cx:pt idx="7027">Cergy</cx:pt>
          <cx:pt idx="7028">Cergy</cx:pt>
          <cx:pt idx="7029">Cergy</cx:pt>
          <cx:pt idx="7030">Cergy</cx:pt>
          <cx:pt idx="7031">Cergy</cx:pt>
          <cx:pt idx="7032">Cergy</cx:pt>
          <cx:pt idx="7033">Cergy</cx:pt>
          <cx:pt idx="7034">Cergy</cx:pt>
          <cx:pt idx="7035">Cergy</cx:pt>
          <cx:pt idx="7036">Cergy</cx:pt>
          <cx:pt idx="7037">Cergy</cx:pt>
          <cx:pt idx="7038">Cergy</cx:pt>
          <cx:pt idx="7039">Cergy</cx:pt>
          <cx:pt idx="7040">Cergy</cx:pt>
          <cx:pt idx="7041">Cergy</cx:pt>
          <cx:pt idx="7042">Cergy</cx:pt>
          <cx:pt idx="7043">Cergy</cx:pt>
          <cx:pt idx="7044">Cergy</cx:pt>
          <cx:pt idx="7045">Cergy</cx:pt>
          <cx:pt idx="7046">Cergy</cx:pt>
          <cx:pt idx="7047">Cergy</cx:pt>
          <cx:pt idx="7048">Cergy</cx:pt>
          <cx:pt idx="7049">Cergy</cx:pt>
          <cx:pt idx="7050">Cergy</cx:pt>
          <cx:pt idx="7051">Cergy</cx:pt>
          <cx:pt idx="7052">Cergy</cx:pt>
          <cx:pt idx="7053">Cergy</cx:pt>
          <cx:pt idx="7054">Cergy</cx:pt>
          <cx:pt idx="7055">Cergy</cx:pt>
          <cx:pt idx="7056">Cergy</cx:pt>
          <cx:pt idx="7057">Cergy</cx:pt>
          <cx:pt idx="7058">Cergy</cx:pt>
          <cx:pt idx="7059">Cergy</cx:pt>
          <cx:pt idx="7060">Cergy</cx:pt>
          <cx:pt idx="7061">Cergy</cx:pt>
          <cx:pt idx="7062">Cergy</cx:pt>
          <cx:pt idx="7063">Cergy</cx:pt>
          <cx:pt idx="7064">Cergy</cx:pt>
          <cx:pt idx="7065">Cergy</cx:pt>
          <cx:pt idx="7066">Cergy</cx:pt>
          <cx:pt idx="7067">Cergy</cx:pt>
          <cx:pt idx="7068">Cergy</cx:pt>
          <cx:pt idx="7069">Cergy</cx:pt>
          <cx:pt idx="7070">Cergy</cx:pt>
          <cx:pt idx="7071">Cergy</cx:pt>
          <cx:pt idx="7072">Cergy</cx:pt>
          <cx:pt idx="7073">Cergy</cx:pt>
          <cx:pt idx="7074">Cergy</cx:pt>
          <cx:pt idx="7075">Cergy</cx:pt>
          <cx:pt idx="7076">Cergy</cx:pt>
          <cx:pt idx="7077">Cergy</cx:pt>
          <cx:pt idx="7078">Cergy</cx:pt>
          <cx:pt idx="7079">Cergy</cx:pt>
          <cx:pt idx="7080">Cergy</cx:pt>
          <cx:pt idx="7081">Cergy</cx:pt>
          <cx:pt idx="7082">Cergy</cx:pt>
          <cx:pt idx="7083">Cergy</cx:pt>
          <cx:pt idx="7084">Cergy</cx:pt>
          <cx:pt idx="7085">Cergy</cx:pt>
          <cx:pt idx="7086">Cergy</cx:pt>
          <cx:pt idx="7087">Cergy</cx:pt>
          <cx:pt idx="7088">Cergy</cx:pt>
          <cx:pt idx="7089">Cergy</cx:pt>
          <cx:pt idx="7090">Cergy</cx:pt>
          <cx:pt idx="7091">Cergy</cx:pt>
          <cx:pt idx="7092">Cergy</cx:pt>
          <cx:pt idx="7093">Cergy</cx:pt>
          <cx:pt idx="7094">Cergy</cx:pt>
          <cx:pt idx="7095">Cergy</cx:pt>
          <cx:pt idx="7096">Cergy</cx:pt>
          <cx:pt idx="7097">Cergy</cx:pt>
          <cx:pt idx="7098">Cergy</cx:pt>
          <cx:pt idx="7099">Cergy</cx:pt>
          <cx:pt idx="7100">Cergy</cx:pt>
          <cx:pt idx="7101">Cergy</cx:pt>
          <cx:pt idx="7102">Cergy</cx:pt>
          <cx:pt idx="7103">Cergy</cx:pt>
          <cx:pt idx="7104">Cergy</cx:pt>
          <cx:pt idx="7105">Cergy</cx:pt>
          <cx:pt idx="7106">Cergy</cx:pt>
          <cx:pt idx="7107">Cergy</cx:pt>
          <cx:pt idx="7108">Cergy</cx:pt>
          <cx:pt idx="7109">Cergy</cx:pt>
          <cx:pt idx="7110">Cergy</cx:pt>
          <cx:pt idx="7111">Cergy</cx:pt>
          <cx:pt idx="7112">Cergy</cx:pt>
          <cx:pt idx="7113">Cergy</cx:pt>
          <cx:pt idx="7114">Cergy</cx:pt>
          <cx:pt idx="7115">Cergy</cx:pt>
          <cx:pt idx="7116">Cergy</cx:pt>
          <cx:pt idx="7117">Cergy</cx:pt>
          <cx:pt idx="7118">Cergy</cx:pt>
          <cx:pt idx="7119">Cergy</cx:pt>
          <cx:pt idx="7120">Cergy</cx:pt>
          <cx:pt idx="7121">Cergy</cx:pt>
          <cx:pt idx="7122">Cergy</cx:pt>
          <cx:pt idx="7123">Cergy</cx:pt>
          <cx:pt idx="7124">Cergy</cx:pt>
          <cx:pt idx="7125">Cergy</cx:pt>
          <cx:pt idx="7126">Cergy</cx:pt>
          <cx:pt idx="7127">Cergy</cx:pt>
          <cx:pt idx="7128">Cergy</cx:pt>
          <cx:pt idx="7129">Cergy</cx:pt>
          <cx:pt idx="7130">Cergy</cx:pt>
          <cx:pt idx="7131">Cergy</cx:pt>
          <cx:pt idx="7132">Cergy</cx:pt>
          <cx:pt idx="7133">Cergy</cx:pt>
          <cx:pt idx="7134">Cergy</cx:pt>
          <cx:pt idx="7135">Cergy</cx:pt>
          <cx:pt idx="7136">Cergy</cx:pt>
          <cx:pt idx="7137">Cergy</cx:pt>
          <cx:pt idx="7138">Cergy</cx:pt>
          <cx:pt idx="7139">Cergy</cx:pt>
          <cx:pt idx="7140">Cergy</cx:pt>
          <cx:pt idx="7141">Cergy</cx:pt>
          <cx:pt idx="7142">Cergy</cx:pt>
          <cx:pt idx="7143">Cergy</cx:pt>
          <cx:pt idx="7144">Cergy</cx:pt>
          <cx:pt idx="7145">Cergy</cx:pt>
          <cx:pt idx="7146">Cergy</cx:pt>
          <cx:pt idx="7147">Cergy</cx:pt>
          <cx:pt idx="7148">Cergy</cx:pt>
          <cx:pt idx="7149">Cergy</cx:pt>
          <cx:pt idx="7150">Cergy</cx:pt>
          <cx:pt idx="7151">Cergy</cx:pt>
          <cx:pt idx="7152">Cergy</cx:pt>
          <cx:pt idx="7153">Cergy</cx:pt>
          <cx:pt idx="7154">Cergy</cx:pt>
          <cx:pt idx="7155">Cergy</cx:pt>
          <cx:pt idx="7156">Cergy</cx:pt>
          <cx:pt idx="7157">Cergy</cx:pt>
          <cx:pt idx="7158">Cergy</cx:pt>
          <cx:pt idx="7159">Cergy</cx:pt>
          <cx:pt idx="7160">Cergy</cx:pt>
          <cx:pt idx="7161">Cergy</cx:pt>
          <cx:pt idx="7162">Cergy</cx:pt>
          <cx:pt idx="7163">Cergy</cx:pt>
          <cx:pt idx="7164">Cergy</cx:pt>
          <cx:pt idx="7165">Cergy</cx:pt>
          <cx:pt idx="7166">Cergy</cx:pt>
          <cx:pt idx="7167">Cergy</cx:pt>
          <cx:pt idx="7168">Cergy</cx:pt>
          <cx:pt idx="7169">Cergy</cx:pt>
          <cx:pt idx="7170">Cergy</cx:pt>
          <cx:pt idx="7171">Cergy</cx:pt>
          <cx:pt idx="7172">Cergy</cx:pt>
          <cx:pt idx="7173">Cergy</cx:pt>
          <cx:pt idx="7174">Cergy</cx:pt>
          <cx:pt idx="7175">Cergy</cx:pt>
          <cx:pt idx="7176">Cergy</cx:pt>
          <cx:pt idx="7177">Cergy</cx:pt>
          <cx:pt idx="7178">Cergy</cx:pt>
          <cx:pt idx="7179">Cergy</cx:pt>
          <cx:pt idx="7180">Cergy</cx:pt>
          <cx:pt idx="7181">Cergy</cx:pt>
          <cx:pt idx="7182">Cergy</cx:pt>
          <cx:pt idx="7183">Cergy</cx:pt>
          <cx:pt idx="7184">Cergy</cx:pt>
          <cx:pt idx="7185">Cergy</cx:pt>
          <cx:pt idx="7186">Cergy</cx:pt>
          <cx:pt idx="7187">Cergy</cx:pt>
          <cx:pt idx="7188">Cergy</cx:pt>
          <cx:pt idx="7189">Cergy</cx:pt>
          <cx:pt idx="7190">Cergy</cx:pt>
          <cx:pt idx="7191">Cergy</cx:pt>
          <cx:pt idx="7192">Cergy</cx:pt>
          <cx:pt idx="7193">Cergy</cx:pt>
          <cx:pt idx="7194">Cergy</cx:pt>
          <cx:pt idx="7195">Cergy</cx:pt>
          <cx:pt idx="7196">Cergy</cx:pt>
          <cx:pt idx="7197">Cergy</cx:pt>
          <cx:pt idx="7198">Cergy</cx:pt>
          <cx:pt idx="7199">Cergy</cx:pt>
          <cx:pt idx="7200">Cergy</cx:pt>
          <cx:pt idx="7201">Cergy</cx:pt>
          <cx:pt idx="7202">Cergy</cx:pt>
          <cx:pt idx="7203">Cergy</cx:pt>
          <cx:pt idx="7204">Cergy</cx:pt>
          <cx:pt idx="7205">Cergy</cx:pt>
          <cx:pt idx="7206">Cergy</cx:pt>
          <cx:pt idx="7207">Cergy</cx:pt>
          <cx:pt idx="7208">Cergy</cx:pt>
          <cx:pt idx="7209">Cergy</cx:pt>
          <cx:pt idx="7210">Cergy</cx:pt>
          <cx:pt idx="7211">Cergy</cx:pt>
          <cx:pt idx="7212">Cergy</cx:pt>
          <cx:pt idx="7213">Cergy</cx:pt>
          <cx:pt idx="7214">Cergy</cx:pt>
          <cx:pt idx="7215">Cergy</cx:pt>
          <cx:pt idx="7216">Cergy</cx:pt>
          <cx:pt idx="7217">Cergy</cx:pt>
          <cx:pt idx="7218">Cergy</cx:pt>
          <cx:pt idx="7219">Cergy</cx:pt>
          <cx:pt idx="7220">Cergy</cx:pt>
          <cx:pt idx="7221">Cergy</cx:pt>
          <cx:pt idx="7222">Cergy</cx:pt>
          <cx:pt idx="7223">Cergy</cx:pt>
          <cx:pt idx="7224">Cergy</cx:pt>
          <cx:pt idx="7225">Cergy</cx:pt>
          <cx:pt idx="7226">Cergy</cx:pt>
          <cx:pt idx="7227">Cergy</cx:pt>
          <cx:pt idx="7228">Cergy</cx:pt>
          <cx:pt idx="7229">Cergy</cx:pt>
          <cx:pt idx="7230">Cergy</cx:pt>
          <cx:pt idx="7231">Cergy</cx:pt>
          <cx:pt idx="7232">Cergy</cx:pt>
          <cx:pt idx="7233">Cergy</cx:pt>
          <cx:pt idx="7234">Cergy</cx:pt>
          <cx:pt idx="7235">Cergy</cx:pt>
          <cx:pt idx="7236">Cergy</cx:pt>
          <cx:pt idx="7237">Cergy</cx:pt>
          <cx:pt idx="7238">Cergy</cx:pt>
          <cx:pt idx="7239">Cergy</cx:pt>
          <cx:pt idx="7240">Cergy</cx:pt>
          <cx:pt idx="7241">Cergy</cx:pt>
          <cx:pt idx="7242">Cergy</cx:pt>
          <cx:pt idx="7243">Cergy</cx:pt>
          <cx:pt idx="7244">Cergy</cx:pt>
          <cx:pt idx="7245">Cergy</cx:pt>
          <cx:pt idx="7246">Cergy</cx:pt>
          <cx:pt idx="7247">Cergy</cx:pt>
          <cx:pt idx="7248">Cergy</cx:pt>
          <cx:pt idx="7249">Cergy</cx:pt>
          <cx:pt idx="7250">Cergy</cx:pt>
          <cx:pt idx="7251">Cergy</cx:pt>
          <cx:pt idx="7252">Cergy</cx:pt>
          <cx:pt idx="7253">Cergy</cx:pt>
          <cx:pt idx="7254">Cergy</cx:pt>
          <cx:pt idx="7255">Cergy</cx:pt>
          <cx:pt idx="7256">Cergy</cx:pt>
          <cx:pt idx="7257">Cergy</cx:pt>
          <cx:pt idx="7258">Cergy</cx:pt>
          <cx:pt idx="7259">Cergy</cx:pt>
          <cx:pt idx="7260">Cergy</cx:pt>
          <cx:pt idx="7261">Cergy</cx:pt>
          <cx:pt idx="7262">Cergy</cx:pt>
          <cx:pt idx="7263">Cergy</cx:pt>
          <cx:pt idx="7264">Cergy</cx:pt>
          <cx:pt idx="7265">Cergy</cx:pt>
          <cx:pt idx="7266">Cergy</cx:pt>
          <cx:pt idx="7267">Cergy</cx:pt>
          <cx:pt idx="7268">Cergy</cx:pt>
          <cx:pt idx="7269">Cergy</cx:pt>
          <cx:pt idx="7270">Cergy</cx:pt>
          <cx:pt idx="7271">Cergy</cx:pt>
          <cx:pt idx="7272">Cergy</cx:pt>
          <cx:pt idx="7273">Cergy</cx:pt>
          <cx:pt idx="7274">Cergy</cx:pt>
          <cx:pt idx="7275">Cergy</cx:pt>
          <cx:pt idx="7276">Cergy</cx:pt>
          <cx:pt idx="7277">Cergy</cx:pt>
          <cx:pt idx="7278">Cergy</cx:pt>
          <cx:pt idx="7279">Cergy</cx:pt>
          <cx:pt idx="7280">Cergy</cx:pt>
          <cx:pt idx="7281">Cergy</cx:pt>
          <cx:pt idx="7282">Cergy</cx:pt>
          <cx:pt idx="7283">Cergy</cx:pt>
          <cx:pt idx="7284">Cergy</cx:pt>
          <cx:pt idx="7285">Cergy</cx:pt>
          <cx:pt idx="7286">Cergy</cx:pt>
          <cx:pt idx="7287">Cergy</cx:pt>
          <cx:pt idx="7288">Cergy</cx:pt>
          <cx:pt idx="7289">Cergy</cx:pt>
          <cx:pt idx="7290">Cergy</cx:pt>
          <cx:pt idx="7291">Cergy</cx:pt>
          <cx:pt idx="7292">Cergy</cx:pt>
          <cx:pt idx="7293">Cergy</cx:pt>
          <cx:pt idx="7294">Cergy</cx:pt>
          <cx:pt idx="7295">Cergy</cx:pt>
          <cx:pt idx="7296">Cergy</cx:pt>
          <cx:pt idx="7297">Cergy</cx:pt>
          <cx:pt idx="7298">Cergy</cx:pt>
          <cx:pt idx="7299">Cergy</cx:pt>
          <cx:pt idx="7300">Cergy</cx:pt>
          <cx:pt idx="7301">Cergy</cx:pt>
          <cx:pt idx="7302">Cergy</cx:pt>
          <cx:pt idx="7303">Cergy</cx:pt>
          <cx:pt idx="7304">Cergy</cx:pt>
          <cx:pt idx="7305">Cergy</cx:pt>
          <cx:pt idx="7306">Cergy</cx:pt>
          <cx:pt idx="7307">Cergy</cx:pt>
          <cx:pt idx="7308">Cergy</cx:pt>
          <cx:pt idx="7309">Cergy</cx:pt>
          <cx:pt idx="7310">Cergy</cx:pt>
          <cx:pt idx="7311">Cergy</cx:pt>
          <cx:pt idx="7312">Cergy</cx:pt>
          <cx:pt idx="7313">Clermont-Ferrand</cx:pt>
          <cx:pt idx="7314">Clermont-Ferrand</cx:pt>
          <cx:pt idx="7315">Avignon</cx:pt>
          <cx:pt idx="7316">Reims</cx:pt>
          <cx:pt idx="7317">Reims</cx:pt>
          <cx:pt idx="7318">Avignon</cx:pt>
          <cx:pt idx="7319">Clermont-Ferrand</cx:pt>
          <cx:pt idx="7320">Avignon</cx:pt>
          <cx:pt idx="7321">Cergy</cx:pt>
          <cx:pt idx="7322">Cergy</cx:pt>
          <cx:pt idx="7323">Reims</cx:pt>
          <cx:pt idx="7324">Clermont-Ferrand</cx:pt>
          <cx:pt idx="7325">Avignon</cx:pt>
          <cx:pt idx="7326">Cergy</cx:pt>
          <cx:pt idx="7327">Cergy</cx:pt>
          <cx:pt idx="7328">Reims</cx:pt>
          <cx:pt idx="7329">Clermont-Ferrand</cx:pt>
          <cx:pt idx="7330">Clermont-Ferrand</cx:pt>
          <cx:pt idx="7331">Avignon</cx:pt>
          <cx:pt idx="7332">Avignon</cx:pt>
          <cx:pt idx="7333">Clermont-Ferrand</cx:pt>
          <cx:pt idx="7334">Clermont-Ferrand</cx:pt>
          <cx:pt idx="7335">Clermont-Ferrand</cx:pt>
          <cx:pt idx="7336">Montauban</cx:pt>
          <cx:pt idx="7337">Montauban</cx:pt>
          <cx:pt idx="7338">Clermont-Ferrand</cx:pt>
          <cx:pt idx="7339">Avignon</cx:pt>
          <cx:pt idx="7340">Reims</cx:pt>
          <cx:pt idx="7341">Clermont-Ferrand</cx:pt>
          <cx:pt idx="7342">Cergy</cx:pt>
          <cx:pt idx="7343">Clermont-Ferrand</cx:pt>
          <cx:pt idx="7344">Avignon</cx:pt>
          <cx:pt idx="7345">Clermont-Ferrand</cx:pt>
          <cx:pt idx="7346">Clermont-Ferrand</cx:pt>
          <cx:pt idx="7347">Avignon</cx:pt>
          <cx:pt idx="7348">Clermont-Ferrand</cx:pt>
          <cx:pt idx="7349">Clermont-Ferrand</cx:pt>
          <cx:pt idx="7350">Avignon</cx:pt>
          <cx:pt idx="7351">Reims</cx:pt>
          <cx:pt idx="7352">Montauban</cx:pt>
          <cx:pt idx="7353">Montauban</cx:pt>
          <cx:pt idx="7354">Montauban</cx:pt>
          <cx:pt idx="7355">Clermont-Ferrand</cx:pt>
          <cx:pt idx="7356">Clermont-Ferrand</cx:pt>
          <cx:pt idx="7357">Cergy</cx:pt>
          <cx:pt idx="7358">Reims</cx:pt>
          <cx:pt idx="7359">Clermont-Ferrand</cx:pt>
          <cx:pt idx="7360">Cergy</cx:pt>
          <cx:pt idx="7361">Reims</cx:pt>
          <cx:pt idx="7362">Montauban</cx:pt>
          <cx:pt idx="7363">Avignon</cx:pt>
          <cx:pt idx="7364">Avignon</cx:pt>
          <cx:pt idx="7365">Avignon</cx:pt>
          <cx:pt idx="7366">Avignon</cx:pt>
          <cx:pt idx="7367">Reims</cx:pt>
          <cx:pt idx="7368">Clermont-Ferrand</cx:pt>
          <cx:pt idx="7369">Montauban</cx:pt>
          <cx:pt idx="7370">Montauban</cx:pt>
          <cx:pt idx="7371">Clermont-Ferrand</cx:pt>
          <cx:pt idx="7372">Clermont-Ferrand</cx:pt>
          <cx:pt idx="7373">Reims</cx:pt>
          <cx:pt idx="7374">Avignon</cx:pt>
          <cx:pt idx="7375">Avignon</cx:pt>
          <cx:pt idx="7376">Avignon</cx:pt>
          <cx:pt idx="7377">Avignon</cx:pt>
          <cx:pt idx="7378">Montauban</cx:pt>
          <cx:pt idx="7379">Montauban</cx:pt>
          <cx:pt idx="7380">Clermont-Ferrand</cx:pt>
          <cx:pt idx="7381">Avignon</cx:pt>
          <cx:pt idx="7382">Montauban</cx:pt>
          <cx:pt idx="7383">Montauban</cx:pt>
          <cx:pt idx="7384">Cergy</cx:pt>
          <cx:pt idx="7385">Montauban</cx:pt>
          <cx:pt idx="7386">Reims</cx:pt>
          <cx:pt idx="7387">Reims</cx:pt>
          <cx:pt idx="7388">Montauban</cx:pt>
          <cx:pt idx="7389">Montauban</cx:pt>
          <cx:pt idx="7390">Cergy</cx:pt>
          <cx:pt idx="7391">Cergy</cx:pt>
          <cx:pt idx="7392">Reims</cx:pt>
          <cx:pt idx="7393">Avignon</cx:pt>
          <cx:pt idx="7394">Reims</cx:pt>
          <cx:pt idx="7395">Cergy</cx:pt>
          <cx:pt idx="7396">Montauban</cx:pt>
          <cx:pt idx="7397">Clermont-Ferrand</cx:pt>
          <cx:pt idx="7398">Clermont-Ferrand</cx:pt>
          <cx:pt idx="7399">Cergy</cx:pt>
          <cx:pt idx="7400">Clermont-Ferrand</cx:pt>
          <cx:pt idx="7401">Clermont-Ferrand</cx:pt>
          <cx:pt idx="7402">Avignon</cx:pt>
          <cx:pt idx="7403">Montauban</cx:pt>
          <cx:pt idx="7404">Avignon</cx:pt>
          <cx:pt idx="7405">Cergy</cx:pt>
          <cx:pt idx="7406">Cergy</cx:pt>
          <cx:pt idx="7407">Clermont-Ferrand</cx:pt>
          <cx:pt idx="7408">Cergy</cx:pt>
          <cx:pt idx="7409">Cergy</cx:pt>
          <cx:pt idx="7410">Montauban</cx:pt>
          <cx:pt idx="7411">Montauban</cx:pt>
          <cx:pt idx="7412">Clermont-Ferrand</cx:pt>
          <cx:pt idx="7413">Clermont-Ferrand</cx:pt>
          <cx:pt idx="7414">Cergy</cx:pt>
          <cx:pt idx="7415">Reims</cx:pt>
          <cx:pt idx="7416">Clermont-Ferrand</cx:pt>
          <cx:pt idx="7417">Cergy</cx:pt>
          <cx:pt idx="7418">Cergy</cx:pt>
          <cx:pt idx="7419">Reims</cx:pt>
          <cx:pt idx="7420">Reims</cx:pt>
          <cx:pt idx="7421">Clermont-Ferrand</cx:pt>
          <cx:pt idx="7422">Clermont-Ferrand</cx:pt>
          <cx:pt idx="7423">Reims</cx:pt>
          <cx:pt idx="7424">Avignon</cx:pt>
          <cx:pt idx="7425">Avignon</cx:pt>
        </cx:lvl>
      </cx:strDim>
      <cx:numDim type="val">
        <cx:f>analyse!$C$2:$C$7427</cx:f>
        <cx:lvl ptCount="7426" formatCode="Standard">
          <cx:pt idx="0">498.49886309553648</cx:pt>
          <cx:pt idx="1">498.49886309553648</cx:pt>
          <cx:pt idx="2">498.49886309553648</cx:pt>
          <cx:pt idx="3">498.49886309553648</cx:pt>
          <cx:pt idx="4">498.49886309553648</cx:pt>
          <cx:pt idx="5">498.49886309553648</cx:pt>
          <cx:pt idx="6">498.49886309553648</cx:pt>
          <cx:pt idx="7">498.49886309553648</cx:pt>
          <cx:pt idx="8">498.49886309553648</cx:pt>
          <cx:pt idx="9">498.49886309553648</cx:pt>
          <cx:pt idx="10">498.49886309553648</cx:pt>
          <cx:pt idx="11">498.49886309553648</cx:pt>
          <cx:pt idx="12">498.49886309553648</cx:pt>
          <cx:pt idx="13">498.49886309553648</cx:pt>
          <cx:pt idx="14">498.49886309553648</cx:pt>
          <cx:pt idx="15">498.49886309553648</cx:pt>
          <cx:pt idx="16">498.49886309553648</cx:pt>
          <cx:pt idx="17">498.49886309553648</cx:pt>
          <cx:pt idx="18">498.49886309553648</cx:pt>
          <cx:pt idx="19">491.55744532769052</cx:pt>
          <cx:pt idx="20">491.55744532769052</cx:pt>
          <cx:pt idx="21">490.38406856110652</cx:pt>
          <cx:pt idx="22">485.97953768299601</cx:pt>
          <cx:pt idx="23">485.97953768299601</cx:pt>
          <cx:pt idx="24">485.97953768299601</cx:pt>
          <cx:pt idx="25">485.97953768299601</cx:pt>
          <cx:pt idx="26">485.97953768299601</cx:pt>
          <cx:pt idx="27">485.97953768299601</cx:pt>
          <cx:pt idx="28">485.97953768299601</cx:pt>
          <cx:pt idx="29">485.97953768299601</cx:pt>
          <cx:pt idx="30">485.97953768299601</cx:pt>
          <cx:pt idx="31">485.97953768299601</cx:pt>
          <cx:pt idx="32">485.97953768299601</cx:pt>
          <cx:pt idx="33">485.97953768299601</cx:pt>
          <cx:pt idx="34">485.97953768299601</cx:pt>
          <cx:pt idx="35">485.97953768299601</cx:pt>
          <cx:pt idx="36">485.97953768299601</cx:pt>
          <cx:pt idx="37">485.97953768299601</cx:pt>
          <cx:pt idx="38">478.74107091650649</cx:pt>
          <cx:pt idx="39">478.74107091650649</cx:pt>
          <cx:pt idx="40">478.74107091650649</cx:pt>
          <cx:pt idx="41">478.74107091650649</cx:pt>
          <cx:pt idx="42">478.74107091650649</cx:pt>
          <cx:pt idx="43">476.60069735702803</cx:pt>
          <cx:pt idx="44">476.60069735702803</cx:pt>
          <cx:pt idx="45">476.60069735702803</cx:pt>
          <cx:pt idx="46">476.60069735702803</cx:pt>
          <cx:pt idx="47">476.60069735702803</cx:pt>
          <cx:pt idx="48">476.60069735702803</cx:pt>
          <cx:pt idx="49">476.60069735702803</cx:pt>
          <cx:pt idx="50">476.60069735702803</cx:pt>
          <cx:pt idx="51">476.60069735702803</cx:pt>
          <cx:pt idx="52">476.60069735702803</cx:pt>
          <cx:pt idx="53">476.60069735702803</cx:pt>
          <cx:pt idx="54">476.60069735702803</cx:pt>
          <cx:pt idx="55">476.60069735702803</cx:pt>
          <cx:pt idx="56">476.60069735702803</cx:pt>
          <cx:pt idx="57">476.60069735702803</cx:pt>
          <cx:pt idx="58">468.027721569893</cx:pt>
          <cx:pt idx="59">468.027721569893</cx:pt>
          <cx:pt idx="60">468.027721569893</cx:pt>
          <cx:pt idx="61">468.027721569893</cx:pt>
          <cx:pt idx="62">468.027721569893</cx:pt>
          <cx:pt idx="63">468.027721569893</cx:pt>
          <cx:pt idx="64">468.027721569893</cx:pt>
          <cx:pt idx="65">468.027721569893</cx:pt>
          <cx:pt idx="66">468.027721569893</cx:pt>
          <cx:pt idx="67">468.027721569893</cx:pt>
          <cx:pt idx="68">468.027721569893</cx:pt>
          <cx:pt idx="69">468.027721569893</cx:pt>
          <cx:pt idx="70">468.027721569893</cx:pt>
          <cx:pt idx="71">468.027721569893</cx:pt>
          <cx:pt idx="72">430.7351729884175</cx:pt>
          <cx:pt idx="73">430.7351729884175</cx:pt>
          <cx:pt idx="74">430.7351729884175</cx:pt>
          <cx:pt idx="75">430.7351729884175</cx:pt>
          <cx:pt idx="76">430.7351729884175</cx:pt>
          <cx:pt idx="77">430.7351729884175</cx:pt>
          <cx:pt idx="78">430.7351729884175</cx:pt>
          <cx:pt idx="79">430.7351729884175</cx:pt>
          <cx:pt idx="80">430.7351729884175</cx:pt>
          <cx:pt idx="81">430.7351729884175</cx:pt>
          <cx:pt idx="82">430.7351729884175</cx:pt>
          <cx:pt idx="83">430.7351729884175</cx:pt>
          <cx:pt idx="84">430.7351729884175</cx:pt>
          <cx:pt idx="85">430.7351729884175</cx:pt>
          <cx:pt idx="86">430.7351729884175</cx:pt>
          <cx:pt idx="87">430.7351729884175</cx:pt>
          <cx:pt idx="88">430.7351729884175</cx:pt>
          <cx:pt idx="89">430.7351729884175</cx:pt>
          <cx:pt idx="90">425.071350929294</cx:pt>
          <cx:pt idx="91">425.071350929294</cx:pt>
          <cx:pt idx="92">425.071350929294</cx:pt>
          <cx:pt idx="93">425.071350929294</cx:pt>
          <cx:pt idx="94">425.071350929294</cx:pt>
          <cx:pt idx="95">425.071350929294</cx:pt>
          <cx:pt idx="96">425.071350929294</cx:pt>
          <cx:pt idx="97">425.071350929294</cx:pt>
          <cx:pt idx="98">425.071350929294</cx:pt>
          <cx:pt idx="99">425.071350929294</cx:pt>
          <cx:pt idx="100">425.071350929294</cx:pt>
          <cx:pt idx="101">425.071350929294</cx:pt>
          <cx:pt idx="102">425.071350929294</cx:pt>
          <cx:pt idx="103">425.071350929294</cx:pt>
          <cx:pt idx="104">425.071350929294</cx:pt>
          <cx:pt idx="105">425.071350929294</cx:pt>
          <cx:pt idx="106">425.071350929294</cx:pt>
          <cx:pt idx="107">425.071350929294</cx:pt>
          <cx:pt idx="108">425.071350929294</cx:pt>
          <cx:pt idx="109">425.071350929294</cx:pt>
          <cx:pt idx="110">425.071350929294</cx:pt>
          <cx:pt idx="111">420.63743611513996</cx:pt>
          <cx:pt idx="112">420.63743611513996</cx:pt>
          <cx:pt idx="113">404.01345216278668</cx:pt>
          <cx:pt idx="114">404.01345216278668</cx:pt>
          <cx:pt idx="115">404.01345216278668</cx:pt>
          <cx:pt idx="116">404.01345216278668</cx:pt>
          <cx:pt idx="117">404.01345216278668</cx:pt>
          <cx:pt idx="118">404.01345216278668</cx:pt>
          <cx:pt idx="119">404.01345216278668</cx:pt>
          <cx:pt idx="120">404.01345216278668</cx:pt>
          <cx:pt idx="121">404.01345216278668</cx:pt>
          <cx:pt idx="122">404.01345216278668</cx:pt>
          <cx:pt idx="123">404.01345216278668</cx:pt>
          <cx:pt idx="124">404.01345216278668</cx:pt>
          <cx:pt idx="125">404.01345216278668</cx:pt>
          <cx:pt idx="126">386.13861486613899</cx:pt>
          <cx:pt idx="127">380.31773074413252</cx:pt>
          <cx:pt idx="128">380.31773074413252</cx:pt>
          <cx:pt idx="129">380.31773074413252</cx:pt>
          <cx:pt idx="130">380.31773074413252</cx:pt>
          <cx:pt idx="131">380.31773074413252</cx:pt>
          <cx:pt idx="132">380.31773074413252</cx:pt>
          <cx:pt idx="133">380.31773074413252</cx:pt>
          <cx:pt idx="134">380.31773074413252</cx:pt>
          <cx:pt idx="135">380.31773074413252</cx:pt>
          <cx:pt idx="136">380.31773074413252</cx:pt>
          <cx:pt idx="137">380.31773074413252</cx:pt>
          <cx:pt idx="138">380.31773074413252</cx:pt>
          <cx:pt idx="139">380.31773074413252</cx:pt>
          <cx:pt idx="140">380.31773074413252</cx:pt>
          <cx:pt idx="141">380.31773074413252</cx:pt>
          <cx:pt idx="142">380.31773074413252</cx:pt>
          <cx:pt idx="143">379.01014274202663</cx:pt>
          <cx:pt idx="144">379.01014274202663</cx:pt>
          <cx:pt idx="145">379.01014274202663</cx:pt>
          <cx:pt idx="146">378.7478941215</cx:pt>
          <cx:pt idx="147">378.7478941215</cx:pt>
          <cx:pt idx="148">378.7478941215</cx:pt>
          <cx:pt idx="149">375.44705991867551</cx:pt>
          <cx:pt idx="150">375.44705991867551</cx:pt>
          <cx:pt idx="151">375.44705991867551</cx:pt>
          <cx:pt idx="152">372.28728417571801</cx:pt>
          <cx:pt idx="153">372.28728417571801</cx:pt>
          <cx:pt idx="154">372.07282241989498</cx:pt>
          <cx:pt idx="155">372.07282241989498</cx:pt>
          <cx:pt idx="156">372.07282241989498</cx:pt>
          <cx:pt idx="157">372.07282241989498</cx:pt>
          <cx:pt idx="158">372.07282241989498</cx:pt>
          <cx:pt idx="159">372.07282241989498</cx:pt>
          <cx:pt idx="160">372.07282241989498</cx:pt>
          <cx:pt idx="161">372.07282241989498</cx:pt>
          <cx:pt idx="162">372.07282241989498</cx:pt>
          <cx:pt idx="163">372.07282241989498</cx:pt>
          <cx:pt idx="164">372.07282241989498</cx:pt>
          <cx:pt idx="165">372.07282241989498</cx:pt>
          <cx:pt idx="166">372.07282241989498</cx:pt>
          <cx:pt idx="167">372.07282241989498</cx:pt>
          <cx:pt idx="168">372.07282241989498</cx:pt>
          <cx:pt idx="169">372.07282241989498</cx:pt>
          <cx:pt idx="170">372.07282241989498</cx:pt>
          <cx:pt idx="171">372.07282241989498</cx:pt>
          <cx:pt idx="172">372.07282241989498</cx:pt>
          <cx:pt idx="173">372.07282241989498</cx:pt>
          <cx:pt idx="174">369.23873466067749</cx:pt>
          <cx:pt idx="175">357.95043945071001</cx:pt>
          <cx:pt idx="176">354.74227382103663</cx:pt>
          <cx:pt idx="177">352.51347572157499</cx:pt>
          <cx:pt idx="178">350.04358303015334</cx:pt>
          <cx:pt idx="179">348.72439260403252</cx:pt>
          <cx:pt idx="180">348.72439260403252</cx:pt>
          <cx:pt idx="181">348.72439260403252</cx:pt>
          <cx:pt idx="182">348.72439260403252</cx:pt>
          <cx:pt idx="183">348.70602212504667</cx:pt>
          <cx:pt idx="184">348.13246145323001</cx:pt>
          <cx:pt idx="185">348.13246145323001</cx:pt>
          <cx:pt idx="186">348.13246145323001</cx:pt>
          <cx:pt idx="187">348.13246145323001</cx:pt>
          <cx:pt idx="188">348.13246145323001</cx:pt>
          <cx:pt idx="189">348.13246145323001</cx:pt>
          <cx:pt idx="190">348.13246145323001</cx:pt>
          <cx:pt idx="191">348.13246145323001</cx:pt>
          <cx:pt idx="192">348.13246145323001</cx:pt>
          <cx:pt idx="193">348.13246145323001</cx:pt>
          <cx:pt idx="194">348.13246145323001</cx:pt>
          <cx:pt idx="195">348.13246145323001</cx:pt>
          <cx:pt idx="196">348.13246145323001</cx:pt>
          <cx:pt idx="197">346.40148884219502</cx:pt>
          <cx:pt idx="198">345.98499837364102</cx:pt>
          <cx:pt idx="199">345.6619916110875</cx:pt>
          <cx:pt idx="200">344.59017006059338</cx:pt>
          <cx:pt idx="201">344.54073165058003</cx:pt>
          <cx:pt idx="202">342.47135362684151</cx:pt>
          <cx:pt idx="203">342.47135362684151</cx:pt>
          <cx:pt idx="204">342.47135362684151</cx:pt>
          <cx:pt idx="205">342.47135362684151</cx:pt>
          <cx:pt idx="206">342.47135362684151</cx:pt>
          <cx:pt idx="207">342.47135362684151</cx:pt>
          <cx:pt idx="208">342.47135362684151</cx:pt>
          <cx:pt idx="209">342.47135362684151</cx:pt>
          <cx:pt idx="210">342.47135362684151</cx:pt>
          <cx:pt idx="211">342.47135362684151</cx:pt>
          <cx:pt idx="212">342.47135362684151</cx:pt>
          <cx:pt idx="213">342.32696783925797</cx:pt>
          <cx:pt idx="214">342.32696783925797</cx:pt>
          <cx:pt idx="215">342.32696783925797</cx:pt>
          <cx:pt idx="216">339.3919815270425</cx:pt>
          <cx:pt idx="217">337.75864823223549</cx:pt>
          <cx:pt idx="218">335.92925977079398</cx:pt>
          <cx:pt idx="219">335.92925977079398</cx:pt>
          <cx:pt idx="220">335.92925977079398</cx:pt>
          <cx:pt idx="221">335.92925977079398</cx:pt>
          <cx:pt idx="222">335.92925977079398</cx:pt>
          <cx:pt idx="223">335.92925977079398</cx:pt>
          <cx:pt idx="224">335.92925977079398</cx:pt>
          <cx:pt idx="225">335.92925977079398</cx:pt>
          <cx:pt idx="226">335.92925977079398</cx:pt>
          <cx:pt idx="227">335.92925977079398</cx:pt>
          <cx:pt idx="228">335.70344675262749</cx:pt>
          <cx:pt idx="229">335.70344675262749</cx:pt>
          <cx:pt idx="230">335.70344675262749</cx:pt>
          <cx:pt idx="231">335.70344675262749</cx:pt>
          <cx:pt idx="232">335.70344675262749</cx:pt>
          <cx:pt idx="233">335.70344675262749</cx:pt>
          <cx:pt idx="234">335.70344675262749</cx:pt>
          <cx:pt idx="235">335.70344675262749</cx:pt>
          <cx:pt idx="236">335.70344675262749</cx:pt>
          <cx:pt idx="237">335.70344675262749</cx:pt>
          <cx:pt idx="238">335.70344675262749</cx:pt>
          <cx:pt idx="239">335.70344675262749</cx:pt>
          <cx:pt idx="240">335.70344675262749</cx:pt>
          <cx:pt idx="241">335.70344675262749</cx:pt>
          <cx:pt idx="242">335.70344675262749</cx:pt>
          <cx:pt idx="243">335.70344675262749</cx:pt>
          <cx:pt idx="244">335.70344675262749</cx:pt>
          <cx:pt idx="245">335.70344675262749</cx:pt>
          <cx:pt idx="246">334.38984222675333</cx:pt>
          <cx:pt idx="247">334.38984222675333</cx:pt>
          <cx:pt idx="248">334.38984222675333</cx:pt>
          <cx:pt idx="249">334.38984222675333</cx:pt>
          <cx:pt idx="250">334.38984222675333</cx:pt>
          <cx:pt idx="251">334.38984222675333</cx:pt>
          <cx:pt idx="252">334.38984222675333</cx:pt>
          <cx:pt idx="253">334.38984222675333</cx:pt>
          <cx:pt idx="254">334.38984222675333</cx:pt>
          <cx:pt idx="255">334.38984222675333</cx:pt>
          <cx:pt idx="256">334.38984222675333</cx:pt>
          <cx:pt idx="257">334.38984222675333</cx:pt>
          <cx:pt idx="258">334.38984222675333</cx:pt>
          <cx:pt idx="259">334.38984222675333</cx:pt>
          <cx:pt idx="260">334.38984222675333</cx:pt>
          <cx:pt idx="261">334.38984222675333</cx:pt>
          <cx:pt idx="262">334.38984222675333</cx:pt>
          <cx:pt idx="263">332.907532874455</cx:pt>
          <cx:pt idx="264">331.54627392676167</cx:pt>
          <cx:pt idx="265">330.46554908749698</cx:pt>
          <cx:pt idx="266">330.46554908749698</cx:pt>
          <cx:pt idx="267">329.60935731664136</cx:pt>
          <cx:pt idx="268">328.11515174846932</cx:pt>
          <cx:pt idx="269">328.11515174846932</cx:pt>
          <cx:pt idx="270">328.11515174846932</cx:pt>
          <cx:pt idx="271">328.11515174846932</cx:pt>
          <cx:pt idx="272">328.11515174846932</cx:pt>
          <cx:pt idx="273">328.11515174846932</cx:pt>
          <cx:pt idx="274">328.11515174846932</cx:pt>
          <cx:pt idx="275">328.11515174846932</cx:pt>
          <cx:pt idx="276">328.11515174846932</cx:pt>
          <cx:pt idx="277">328.11515174846932</cx:pt>
          <cx:pt idx="278">328.11515174846932</cx:pt>
          <cx:pt idx="279">328.11515174846932</cx:pt>
          <cx:pt idx="280">328.11515174846932</cx:pt>
          <cx:pt idx="281">327.33015261996269</cx:pt>
          <cx:pt idx="282">326.03618530448568</cx:pt>
          <cx:pt idx="283">323.5103924430025</cx:pt>
          <cx:pt idx="284">322.80994215853752</cx:pt>
          <cx:pt idx="285">322.80994215853752</cx:pt>
          <cx:pt idx="286">322.80994215853752</cx:pt>
          <cx:pt idx="287">322.80994215853752</cx:pt>
          <cx:pt idx="288">322.80994215853752</cx:pt>
          <cx:pt idx="289">321.28377670058251</cx:pt>
          <cx:pt idx="290">319.76405373085998</cx:pt>
          <cx:pt idx="291">319.76405373085998</cx:pt>
          <cx:pt idx="292">319.76405373085998</cx:pt>
          <cx:pt idx="293">319.76405373085998</cx:pt>
          <cx:pt idx="294">319.675818442425</cx:pt>
          <cx:pt idx="295">319.675818442425</cx:pt>
          <cx:pt idx="296">319.675818442425</cx:pt>
          <cx:pt idx="297">319.675818442425</cx:pt>
          <cx:pt idx="298">319.675818442425</cx:pt>
          <cx:pt idx="299">319.675818442425</cx:pt>
          <cx:pt idx="300">319.675818442425</cx:pt>
          <cx:pt idx="301">319.675818442425</cx:pt>
          <cx:pt idx="302">319.64537922964331</cx:pt>
          <cx:pt idx="303">319.64537922964331</cx:pt>
          <cx:pt idx="304">319.64537922964331</cx:pt>
          <cx:pt idx="305">319.64537922964331</cx:pt>
          <cx:pt idx="306">319.64537922964331</cx:pt>
          <cx:pt idx="307">319.64537922964331</cx:pt>
          <cx:pt idx="308">319.64537922964331</cx:pt>
          <cx:pt idx="309">319.64537922964331</cx:pt>
          <cx:pt idx="310">319.64537922964331</cx:pt>
          <cx:pt idx="311">319.64537922964331</cx:pt>
          <cx:pt idx="312">319.64537922964331</cx:pt>
          <cx:pt idx="313">318.75254489132249</cx:pt>
          <cx:pt idx="314">318.20960784063249</cx:pt>
          <cx:pt idx="315">313.27256115265669</cx:pt>
          <cx:pt idx="316">312.98431007391201</cx:pt>
          <cx:pt idx="317">312.98431007391201</cx:pt>
          <cx:pt idx="318">310.18022545566748</cx:pt>
          <cx:pt idx="319">310.18022545566748</cx:pt>
          <cx:pt idx="320">308.87863333958097</cx:pt>
          <cx:pt idx="321">308.87863333958097</cx:pt>
          <cx:pt idx="322">308.87863333958097</cx:pt>
          <cx:pt idx="323">308.87863333958097</cx:pt>
          <cx:pt idx="324">308.87863333958097</cx:pt>
          <cx:pt idx="325">308.87863333958097</cx:pt>
          <cx:pt idx="326">308.87863333958097</cx:pt>
          <cx:pt idx="327">308.87863333958097</cx:pt>
          <cx:pt idx="328">308.87863333958097</cx:pt>
          <cx:pt idx="329">308.87863333958097</cx:pt>
          <cx:pt idx="330">308.87863333958097</cx:pt>
          <cx:pt idx="331">308.87863333958097</cx:pt>
          <cx:pt idx="332">308.87863333958097</cx:pt>
          <cx:pt idx="333">308.87863333958097</cx:pt>
          <cx:pt idx="334">308.87863333958097</cx:pt>
          <cx:pt idx="335">308.87863333958097</cx:pt>
          <cx:pt idx="336">308.87863333958097</cx:pt>
          <cx:pt idx="337">308.87863333958097</cx:pt>
          <cx:pt idx="338">308.87863333958097</cx:pt>
          <cx:pt idx="339">308.87863333958097</cx:pt>
          <cx:pt idx="340">308.87863333958097</cx:pt>
          <cx:pt idx="341">308.87863333958097</cx:pt>
          <cx:pt idx="342">308.87863333958097</cx:pt>
          <cx:pt idx="343">308.87863333958097</cx:pt>
          <cx:pt idx="344">308.87863333958097</cx:pt>
          <cx:pt idx="345">308.87863333958097</cx:pt>
          <cx:pt idx="346">308.87863333958097</cx:pt>
          <cx:pt idx="347">308.87863333958097</cx:pt>
          <cx:pt idx="348">308.87863333958097</cx:pt>
          <cx:pt idx="349">308.87863333958097</cx:pt>
          <cx:pt idx="350">308.87863333958097</cx:pt>
          <cx:pt idx="351">308.87863333958097</cx:pt>
          <cx:pt idx="352">308.87863333958097</cx:pt>
          <cx:pt idx="353">308.87863333958097</cx:pt>
          <cx:pt idx="354">308.87863333958097</cx:pt>
          <cx:pt idx="355">308.87863333958097</cx:pt>
          <cx:pt idx="356">308.87863333958097</cx:pt>
          <cx:pt idx="357">308.87863333958097</cx:pt>
          <cx:pt idx="358">308.79415941555999</cx:pt>
          <cx:pt idx="359">308.79415941555999</cx:pt>
          <cx:pt idx="360">308.79415941555999</cx:pt>
          <cx:pt idx="361">308.60176149977752</cx:pt>
          <cx:pt idx="362">308.60176149977752</cx:pt>
          <cx:pt idx="363">308.60176149977752</cx:pt>
          <cx:pt idx="364">308.60176149977752</cx:pt>
          <cx:pt idx="365">308.60176149977752</cx:pt>
          <cx:pt idx="366">308.40403410787002</cx:pt>
          <cx:pt idx="367">306.19438867291433</cx:pt>
          <cx:pt idx="368">306.19438867291433</cx:pt>
          <cx:pt idx="369">306.19438867291433</cx:pt>
          <cx:pt idx="370">306.19438867291433</cx:pt>
          <cx:pt idx="371">306.19438867291433</cx:pt>
          <cx:pt idx="372">304.55303924438749</cx:pt>
          <cx:pt idx="373">304.55303924438749</cx:pt>
          <cx:pt idx="374">304.55303924438749</cx:pt>
          <cx:pt idx="375">304.55303924438749</cx:pt>
          <cx:pt idx="376">304.55303924438749</cx:pt>
          <cx:pt idx="377">304.55303924438749</cx:pt>
          <cx:pt idx="378">304.55303924438749</cx:pt>
          <cx:pt idx="379">303.339068462981</cx:pt>
          <cx:pt idx="380">303.339068462981</cx:pt>
          <cx:pt idx="381">302.34490590476503</cx:pt>
          <cx:pt idx="382">302.34490590476503</cx:pt>
          <cx:pt idx="383">302.34490590476503</cx:pt>
          <cx:pt idx="384">302.34490590476503</cx:pt>
          <cx:pt idx="385">301.25647978628797</cx:pt>
          <cx:pt idx="386">301.25647978628797</cx:pt>
          <cx:pt idx="387">301.25647978628797</cx:pt>
          <cx:pt idx="388">301.25647978628797</cx:pt>
          <cx:pt idx="389">301.25647978628797</cx:pt>
          <cx:pt idx="390">301.03590892033498</cx:pt>
          <cx:pt idx="391">300.70611839803053</cx:pt>
          <cx:pt idx="392">300.70611839803053</cx:pt>
          <cx:pt idx="393">300.52172298220751</cx:pt>
          <cx:pt idx="394">300.52172298220751</cx:pt>
          <cx:pt idx="395">300.52172298220751</cx:pt>
          <cx:pt idx="396">300.52172298220751</cx:pt>
          <cx:pt idx="397">300.52172298220751</cx:pt>
          <cx:pt idx="398">300.52172298220751</cx:pt>
          <cx:pt idx="399">300.52172298220751</cx:pt>
          <cx:pt idx="400">300.52172298220751</cx:pt>
          <cx:pt idx="401">300.52172298220751</cx:pt>
          <cx:pt idx="402">300.52172298220751</cx:pt>
          <cx:pt idx="403">300.52172298220751</cx:pt>
          <cx:pt idx="404">300.52172298220751</cx:pt>
          <cx:pt idx="405">300.52172298220751</cx:pt>
          <cx:pt idx="406">300.52172298220751</cx:pt>
          <cx:pt idx="407">300.52172298220751</cx:pt>
          <cx:pt idx="408">300.52172298220751</cx:pt>
          <cx:pt idx="409">300.52172298220751</cx:pt>
          <cx:pt idx="410">300.52172298220751</cx:pt>
          <cx:pt idx="411">300.52172298220751</cx:pt>
          <cx:pt idx="412">300.52172298220751</cx:pt>
          <cx:pt idx="413">300.52172298220751</cx:pt>
          <cx:pt idx="414">300.52172298220751</cx:pt>
          <cx:pt idx="415">300.52172298220751</cx:pt>
          <cx:pt idx="416">300.52172298220751</cx:pt>
          <cx:pt idx="417">300.52172298220751</cx:pt>
          <cx:pt idx="418">300.52172298220751</cx:pt>
          <cx:pt idx="419">300.52172298220751</cx:pt>
          <cx:pt idx="420">300.52172298220751</cx:pt>
          <cx:pt idx="421">300.52172298220751</cx:pt>
          <cx:pt idx="422">300.52172298220751</cx:pt>
          <cx:pt idx="423">300.52172298220751</cx:pt>
          <cx:pt idx="424">300.52172298220751</cx:pt>
          <cx:pt idx="425">300.52172298220751</cx:pt>
          <cx:pt idx="426">300.52172298220751</cx:pt>
          <cx:pt idx="427">300.52172298220751</cx:pt>
          <cx:pt idx="428">300.52172298220751</cx:pt>
          <cx:pt idx="429">300.52172298220751</cx:pt>
          <cx:pt idx="430">300.52172298220751</cx:pt>
          <cx:pt idx="431">300.52172298220751</cx:pt>
          <cx:pt idx="432">300.52172298220751</cx:pt>
          <cx:pt idx="433">300.52172298220751</cx:pt>
          <cx:pt idx="434">300.52172298220751</cx:pt>
          <cx:pt idx="435">300.52172298220751</cx:pt>
          <cx:pt idx="436">300.52172298220751</cx:pt>
          <cx:pt idx="437">300.52172298220751</cx:pt>
          <cx:pt idx="438">300.52172298220751</cx:pt>
          <cx:pt idx="439">300.52172298220751</cx:pt>
          <cx:pt idx="440">300.52172298220751</cx:pt>
          <cx:pt idx="441">300.52172298220751</cx:pt>
          <cx:pt idx="442">300.52172298220751</cx:pt>
          <cx:pt idx="443">300.52172298220751</cx:pt>
          <cx:pt idx="444">300.52172298220751</cx:pt>
          <cx:pt idx="445">300.52172298220751</cx:pt>
          <cx:pt idx="446">300.52172298220751</cx:pt>
          <cx:pt idx="447">300.52172298220751</cx:pt>
          <cx:pt idx="448">300.52172298220751</cx:pt>
          <cx:pt idx="449">300.52172298220751</cx:pt>
          <cx:pt idx="450">300.52172298220751</cx:pt>
          <cx:pt idx="451">300.52172298220751</cx:pt>
          <cx:pt idx="452">300.34312799071603</cx:pt>
          <cx:pt idx="453">299.30948246459002</cx:pt>
          <cx:pt idx="454">298.75462154246497</cx:pt>
          <cx:pt idx="455">298.75462154246497</cx:pt>
          <cx:pt idx="456">298.75462154246497</cx:pt>
          <cx:pt idx="457">298.75462154246497</cx:pt>
          <cx:pt idx="458">298.75462154246497</cx:pt>
          <cx:pt idx="459">298.75462154246497</cx:pt>
          <cx:pt idx="460">298.75462154246497</cx:pt>
          <cx:pt idx="461">298.75462154246497</cx:pt>
          <cx:pt idx="462">297.30465155216001</cx:pt>
          <cx:pt idx="463">297.30465155216001</cx:pt>
          <cx:pt idx="464">296.11200112811252</cx:pt>
          <cx:pt idx="465">296.08441553142427</cx:pt>
          <cx:pt idx="466">295.91373394834</cx:pt>
          <cx:pt idx="467">295.91373394834</cx:pt>
          <cx:pt idx="468">295.91373394834</cx:pt>
          <cx:pt idx="469">295.91373394834</cx:pt>
          <cx:pt idx="470">295.91373394834</cx:pt>
          <cx:pt idx="471">295.91373394834</cx:pt>
          <cx:pt idx="472">295.91373394834</cx:pt>
          <cx:pt idx="473">295.91373394834</cx:pt>
          <cx:pt idx="474">295.91373394834</cx:pt>
          <cx:pt idx="475">295.91373394834</cx:pt>
          <cx:pt idx="476">295.91373394834</cx:pt>
          <cx:pt idx="477">295.91373394834</cx:pt>
          <cx:pt idx="478">295.91373394834</cx:pt>
          <cx:pt idx="479">295.91373394834</cx:pt>
          <cx:pt idx="480">295.91373394834</cx:pt>
          <cx:pt idx="481">295.91373394834</cx:pt>
          <cx:pt idx="482">295.91373394834</cx:pt>
          <cx:pt idx="483">295.91373394834</cx:pt>
          <cx:pt idx="484">295.91373394834</cx:pt>
          <cx:pt idx="485">295.745749687966</cx:pt>
          <cx:pt idx="486">295.745749687966</cx:pt>
          <cx:pt idx="487">295.745749687966</cx:pt>
          <cx:pt idx="488">295.745749687966</cx:pt>
          <cx:pt idx="489">295.745749687966</cx:pt>
          <cx:pt idx="490">295.745749687966</cx:pt>
          <cx:pt idx="491">295.745749687966</cx:pt>
          <cx:pt idx="492">295.745749687966</cx:pt>
          <cx:pt idx="493">295.73540322314398</cx:pt>
          <cx:pt idx="494">295.73540322314398</cx:pt>
          <cx:pt idx="495">295.73540322314398</cx:pt>
          <cx:pt idx="496">295.73540322314398</cx:pt>
          <cx:pt idx="497">295.73540322314398</cx:pt>
          <cx:pt idx="498">295.73540322314398</cx:pt>
          <cx:pt idx="499">295.73540322314398</cx:pt>
          <cx:pt idx="500">295.73540322314398</cx:pt>
          <cx:pt idx="501">295.73540322314398</cx:pt>
          <cx:pt idx="502">295.73540322314398</cx:pt>
          <cx:pt idx="503">295.73540322314398</cx:pt>
          <cx:pt idx="504">295.73540322314398</cx:pt>
          <cx:pt idx="505">295.73540322314398</cx:pt>
          <cx:pt idx="506">295.73540322314398</cx:pt>
          <cx:pt idx="507">295.09139549194003</cx:pt>
          <cx:pt idx="508">295.09139549194003</cx:pt>
          <cx:pt idx="509">295.09139549194003</cx:pt>
          <cx:pt idx="510">294.89852732990499</cx:pt>
          <cx:pt idx="511">294.89852732990499</cx:pt>
          <cx:pt idx="512">293.8546234251595</cx:pt>
          <cx:pt idx="513">293.74244046075597</cx:pt>
          <cx:pt idx="514">293.74244046075597</cx:pt>
          <cx:pt idx="515">293.74244046075597</cx:pt>
          <cx:pt idx="516">293.74244046075597</cx:pt>
          <cx:pt idx="517">293.74244046075597</cx:pt>
          <cx:pt idx="518">293.74244046075597</cx:pt>
          <cx:pt idx="519">293.74244046075597</cx:pt>
          <cx:pt idx="520">293.74244046075597</cx:pt>
          <cx:pt idx="521">293.74244046075597</cx:pt>
          <cx:pt idx="522">293.74244046075597</cx:pt>
          <cx:pt idx="523">293.74244046075597</cx:pt>
          <cx:pt idx="524">293.74244046075597</cx:pt>
          <cx:pt idx="525">293.74244046075597</cx:pt>
          <cx:pt idx="526">293.74244046075597</cx:pt>
          <cx:pt idx="527">293.74244046075597</cx:pt>
          <cx:pt idx="528">293.74244046075597</cx:pt>
          <cx:pt idx="529">293.74244046075597</cx:pt>
          <cx:pt idx="530">293.74244046075597</cx:pt>
          <cx:pt idx="531">293.44270868914703</cx:pt>
          <cx:pt idx="532">293.44270868914703</cx:pt>
          <cx:pt idx="533">293.44270868914703</cx:pt>
          <cx:pt idx="534">293.44270868914703</cx:pt>
          <cx:pt idx="535">293.44270868914703</cx:pt>
          <cx:pt idx="536">293.44270868914703</cx:pt>
          <cx:pt idx="537">293.44270868914703</cx:pt>
          <cx:pt idx="538">293.44270868914703</cx:pt>
          <cx:pt idx="539">293.44270868914703</cx:pt>
          <cx:pt idx="540">293.44270868914703</cx:pt>
          <cx:pt idx="541">293.44270868914703</cx:pt>
          <cx:pt idx="542">293.44270868914703</cx:pt>
          <cx:pt idx="543">293.44270868914703</cx:pt>
          <cx:pt idx="544">293.44270868914703</cx:pt>
          <cx:pt idx="545">293.44270868914703</cx:pt>
          <cx:pt idx="546">293.44270868914703</cx:pt>
          <cx:pt idx="547">293.44270868914703</cx:pt>
          <cx:pt idx="548">293.44270868914703</cx:pt>
          <cx:pt idx="549">293.44270868914703</cx:pt>
          <cx:pt idx="550">293.44270868914703</cx:pt>
          <cx:pt idx="551">293.44270868914703</cx:pt>
          <cx:pt idx="552">292.93748446133952</cx:pt>
          <cx:pt idx="553">292.93748446133952</cx:pt>
          <cx:pt idx="554">292.93748446133952</cx:pt>
          <cx:pt idx="555">292.93748446133952</cx:pt>
          <cx:pt idx="556">292.93748446133952</cx:pt>
          <cx:pt idx="557">292.93748446133952</cx:pt>
          <cx:pt idx="558">292.93748446133952</cx:pt>
          <cx:pt idx="559">292.93748446133952</cx:pt>
          <cx:pt idx="560">292.93748446133952</cx:pt>
          <cx:pt idx="561">292.93748446133952</cx:pt>
          <cx:pt idx="562">292.93748446133952</cx:pt>
          <cx:pt idx="563">292.93748446133952</cx:pt>
          <cx:pt idx="564">292.93748446133952</cx:pt>
          <cx:pt idx="565">292.93748446133952</cx:pt>
          <cx:pt idx="566">292.93748446133952</cx:pt>
          <cx:pt idx="567">292.93748446133952</cx:pt>
          <cx:pt idx="568">292.93748446133952</cx:pt>
          <cx:pt idx="569">292.93748446133952</cx:pt>
          <cx:pt idx="570">292.93748446133952</cx:pt>
          <cx:pt idx="571">292.68625364167502</cx:pt>
          <cx:pt idx="572">292.67374219151333</cx:pt>
          <cx:pt idx="573">292.301058407791</cx:pt>
          <cx:pt idx="574">292.301058407791</cx:pt>
          <cx:pt idx="575">292.301058407791</cx:pt>
          <cx:pt idx="576">292.301058407791</cx:pt>
          <cx:pt idx="577">292.301058407791</cx:pt>
          <cx:pt idx="578">291.48695054919602</cx:pt>
          <cx:pt idx="579">291.48695054919602</cx:pt>
          <cx:pt idx="580">291.48695054919602</cx:pt>
          <cx:pt idx="581">291.48695054919602</cx:pt>
          <cx:pt idx="582">291.48695054919602</cx:pt>
          <cx:pt idx="583">291.48695054919602</cx:pt>
          <cx:pt idx="584">291.48695054919602</cx:pt>
          <cx:pt idx="585">291.48695054919602</cx:pt>
          <cx:pt idx="586">291.48695054919602</cx:pt>
          <cx:pt idx="587">290.42226604588399</cx:pt>
          <cx:pt idx="588">290.42226604588399</cx:pt>
          <cx:pt idx="589">290.42226604588399</cx:pt>
          <cx:pt idx="590">290.42226604588399</cx:pt>
          <cx:pt idx="591">290.42226604588399</cx:pt>
          <cx:pt idx="592">290.42226604588399</cx:pt>
          <cx:pt idx="593">290.42226604588399</cx:pt>
          <cx:pt idx="594">290.42226604588399</cx:pt>
          <cx:pt idx="595">290.42226604588399</cx:pt>
          <cx:pt idx="596">290.42226604588399</cx:pt>
          <cx:pt idx="597">290.42226604588399</cx:pt>
          <cx:pt idx="598">290.39259914815403</cx:pt>
          <cx:pt idx="599">289.63007176290751</cx:pt>
          <cx:pt idx="600">289.63007176290751</cx:pt>
          <cx:pt idx="601">288.59235879970998</cx:pt>
          <cx:pt idx="602">288.59235879970998</cx:pt>
          <cx:pt idx="603">288.59235879970998</cx:pt>
          <cx:pt idx="604">288.59235879970998</cx:pt>
          <cx:pt idx="605">288.59235879970998</cx:pt>
          <cx:pt idx="606">288.59235879970998</cx:pt>
          <cx:pt idx="607">288.59235879970998</cx:pt>
          <cx:pt idx="608">288.59235879970998</cx:pt>
          <cx:pt idx="609">288.59235879970998</cx:pt>
          <cx:pt idx="610">288.59235879970998</cx:pt>
          <cx:pt idx="611">288.36208024920899</cx:pt>
          <cx:pt idx="612">288.36208024920899</cx:pt>
          <cx:pt idx="613">288.36208024920899</cx:pt>
          <cx:pt idx="614">288.36208024920899</cx:pt>
          <cx:pt idx="615">288.36208024920899</cx:pt>
          <cx:pt idx="616">287.82778030528249</cx:pt>
          <cx:pt idx="617">287.720105288865</cx:pt>
          <cx:pt idx="618">287.07542207261253</cx:pt>
          <cx:pt idx="619">287.07542207261253</cx:pt>
          <cx:pt idx="620">287.07542207261253</cx:pt>
          <cx:pt idx="621">287.07542207261253</cx:pt>
          <cx:pt idx="622">287.07542207261253</cx:pt>
          <cx:pt idx="623">287.07542207261253</cx:pt>
          <cx:pt idx="624">286.26576738280897</cx:pt>
          <cx:pt idx="625">286.25962783052501</cx:pt>
          <cx:pt idx="626">286.25962783052501</cx:pt>
          <cx:pt idx="627">286.25962783052501</cx:pt>
          <cx:pt idx="628">286.25962783052501</cx:pt>
          <cx:pt idx="629">286.25962783052501</cx:pt>
          <cx:pt idx="630">285.88949371631003</cx:pt>
          <cx:pt idx="631">285.88949371631003</cx:pt>
          <cx:pt idx="632">285.55462785805901</cx:pt>
          <cx:pt idx="633">284.98889573570665</cx:pt>
          <cx:pt idx="634">284.98889573570665</cx:pt>
          <cx:pt idx="635">284.98889573570665</cx:pt>
          <cx:pt idx="636">284.98889573570665</cx:pt>
          <cx:pt idx="637">284.98889573570665</cx:pt>
          <cx:pt idx="638">284.7317693476225</cx:pt>
          <cx:pt idx="639">284.7317693476225</cx:pt>
          <cx:pt idx="640">284.7317693476225</cx:pt>
          <cx:pt idx="641">284.7317693476225</cx:pt>
          <cx:pt idx="642">284.7317693476225</cx:pt>
          <cx:pt idx="643">282.51118014745498</cx:pt>
          <cx:pt idx="644">282.51118014745498</cx:pt>
          <cx:pt idx="645">282.31286350052147</cx:pt>
          <cx:pt idx="646">281.948135643581</cx:pt>
          <cx:pt idx="647">281.948135643581</cx:pt>
          <cx:pt idx="648">281.948135643581</cx:pt>
          <cx:pt idx="649">281.948135643581</cx:pt>
          <cx:pt idx="650">281.948135643581</cx:pt>
          <cx:pt idx="651">281.948135643581</cx:pt>
          <cx:pt idx="652">281.948135643581</cx:pt>
          <cx:pt idx="653">281.948135643581</cx:pt>
          <cx:pt idx="654">281.948135643581</cx:pt>
          <cx:pt idx="655">281.54251477939533</cx:pt>
          <cx:pt idx="656">281.44178410004298</cx:pt>
          <cx:pt idx="657">281.44178410004298</cx:pt>
          <cx:pt idx="658">281.44178410004298</cx:pt>
          <cx:pt idx="659">281.44178410004298</cx:pt>
          <cx:pt idx="660">281.44178410004298</cx:pt>
          <cx:pt idx="661">281.44178410004298</cx:pt>
          <cx:pt idx="662">281.44178410004298</cx:pt>
          <cx:pt idx="663">281.44178410004298</cx:pt>
          <cx:pt idx="664">281.44178410004298</cx:pt>
          <cx:pt idx="665">281.44178410004298</cx:pt>
          <cx:pt idx="666">281.44178410004298</cx:pt>
          <cx:pt idx="667">281.44178410004298</cx:pt>
          <cx:pt idx="668">281.44178410004298</cx:pt>
          <cx:pt idx="669">281.44178410004298</cx:pt>
          <cx:pt idx="670">281.44178410004298</cx:pt>
          <cx:pt idx="671">281.44178410004298</cx:pt>
          <cx:pt idx="672">281.00137180285651</cx:pt>
          <cx:pt idx="673">281.00137180285651</cx:pt>
          <cx:pt idx="674">281.00137180285651</cx:pt>
          <cx:pt idx="675">281.00137180285651</cx:pt>
          <cx:pt idx="676">281.00137180285651</cx:pt>
          <cx:pt idx="677">281.00137180285651</cx:pt>
          <cx:pt idx="678">281.00137180285651</cx:pt>
          <cx:pt idx="679">281.00137180285651</cx:pt>
          <cx:pt idx="680">281.00137180285651</cx:pt>
          <cx:pt idx="681">281.00137180285651</cx:pt>
          <cx:pt idx="682">281.00137180285651</cx:pt>
          <cx:pt idx="683">281.00137180285651</cx:pt>
          <cx:pt idx="684">281.00137180285651</cx:pt>
          <cx:pt idx="685">281.00137180285651</cx:pt>
          <cx:pt idx="686">281.00137180285651</cx:pt>
          <cx:pt idx="687">281.00137180285651</cx:pt>
          <cx:pt idx="688">281.00137180285651</cx:pt>
          <cx:pt idx="689">281.00137180285651</cx:pt>
          <cx:pt idx="690">281.00137180285651</cx:pt>
          <cx:pt idx="691">280.49953384090065</cx:pt>
          <cx:pt idx="692">280.49953384090065</cx:pt>
          <cx:pt idx="693">280.49953384090065</cx:pt>
          <cx:pt idx="694">278.71155531953201</cx:pt>
          <cx:pt idx="695">278.54325922725252</cx:pt>
          <cx:pt idx="696">278.30364243670203</cx:pt>
          <cx:pt idx="697">278.30364243670203</cx:pt>
          <cx:pt idx="698">278.30364243670203</cx:pt>
          <cx:pt idx="699">277.97439338773501</cx:pt>
          <cx:pt idx="700">277.04297909452731</cx:pt>
          <cx:pt idx="701">276.94301318995298</cx:pt>
          <cx:pt idx="702">276.94301318995298</cx:pt>
          <cx:pt idx="703">276.94301318995298</cx:pt>
          <cx:pt idx="704">276.94301318995298</cx:pt>
          <cx:pt idx="705">276.94301318995298</cx:pt>
          <cx:pt idx="706">276.94301318995298</cx:pt>
          <cx:pt idx="707">276.94301318995298</cx:pt>
          <cx:pt idx="708">276.94301318995298</cx:pt>
          <cx:pt idx="709">276.94301318995298</cx:pt>
          <cx:pt idx="710">276.94301318995298</cx:pt>
          <cx:pt idx="711">276.94301318995298</cx:pt>
          <cx:pt idx="712">276.94301318995298</cx:pt>
          <cx:pt idx="713">276.933559834905</cx:pt>
          <cx:pt idx="714">276.933559834905</cx:pt>
          <cx:pt idx="715">276.933559834905</cx:pt>
          <cx:pt idx="716">276.933559834905</cx:pt>
          <cx:pt idx="717">276.933559834905</cx:pt>
          <cx:pt idx="718">276.933559834905</cx:pt>
          <cx:pt idx="719">276.933559834905</cx:pt>
          <cx:pt idx="720">276.933559834905</cx:pt>
          <cx:pt idx="721">276.933559834905</cx:pt>
          <cx:pt idx="722">276.933559834905</cx:pt>
          <cx:pt idx="723">276.933559834905</cx:pt>
          <cx:pt idx="724">276.933559834905</cx:pt>
          <cx:pt idx="725">276.933559834905</cx:pt>
          <cx:pt idx="726">276.933559834905</cx:pt>
          <cx:pt idx="727">276.933559834905</cx:pt>
          <cx:pt idx="728">276.933559834905</cx:pt>
          <cx:pt idx="729">276.933559834905</cx:pt>
          <cx:pt idx="730">276.933559834905</cx:pt>
          <cx:pt idx="731">276.933559834905</cx:pt>
          <cx:pt idx="732">276.933559834905</cx:pt>
          <cx:pt idx="733">276.933559834905</cx:pt>
          <cx:pt idx="734">276.933559834905</cx:pt>
          <cx:pt idx="735">276.933559834905</cx:pt>
          <cx:pt idx="736">276.933559834905</cx:pt>
          <cx:pt idx="737">275.37755110039751</cx:pt>
          <cx:pt idx="738">275.37755110039751</cx:pt>
          <cx:pt idx="739">275.37755110039751</cx:pt>
          <cx:pt idx="740">275.37755110039751</cx:pt>
          <cx:pt idx="741">275.37755110039751</cx:pt>
          <cx:pt idx="742">275.37755110039751</cx:pt>
          <cx:pt idx="743">275.37755110039751</cx:pt>
          <cx:pt idx="744">275.37755110039751</cx:pt>
          <cx:pt idx="745">275.05067144204003</cx:pt>
          <cx:pt idx="746">275.05067144204003</cx:pt>
          <cx:pt idx="747">275.05067144204003</cx:pt>
          <cx:pt idx="748">275.05067144204003</cx:pt>
          <cx:pt idx="749">275.05067144204003</cx:pt>
          <cx:pt idx="750">275.05067144204003</cx:pt>
          <cx:pt idx="751">275.05067144204003</cx:pt>
          <cx:pt idx="752">275.05067144204003</cx:pt>
          <cx:pt idx="753">275.05067144204003</cx:pt>
          <cx:pt idx="754">275.05067144204003</cx:pt>
          <cx:pt idx="755">275.05067144204003</cx:pt>
          <cx:pt idx="756">275.05067144204003</cx:pt>
          <cx:pt idx="757">275.05067144204003</cx:pt>
          <cx:pt idx="758">275.05067144204003</cx:pt>
          <cx:pt idx="759">275.05067144204003</cx:pt>
          <cx:pt idx="760">275.05067144204003</cx:pt>
          <cx:pt idx="761">275.05067144204003</cx:pt>
          <cx:pt idx="762">275.05067144204003</cx:pt>
          <cx:pt idx="763">275.05067144204003</cx:pt>
          <cx:pt idx="764">275.05067144204003</cx:pt>
          <cx:pt idx="765">275.05067144204003</cx:pt>
          <cx:pt idx="766">275.05067144204003</cx:pt>
          <cx:pt idx="767">275.05067144204003</cx:pt>
          <cx:pt idx="768">275.05067144204003</cx:pt>
          <cx:pt idx="769">275.05067144204003</cx:pt>
          <cx:pt idx="770">275.05067144204003</cx:pt>
          <cx:pt idx="771">275.05067144204003</cx:pt>
          <cx:pt idx="772">275.05067144204003</cx:pt>
          <cx:pt idx="773">275.05067144204003</cx:pt>
          <cx:pt idx="774">275.05067144204003</cx:pt>
          <cx:pt idx="775">275.05067144204003</cx:pt>
          <cx:pt idx="776">275.05067144204003</cx:pt>
          <cx:pt idx="777">275.05067144204003</cx:pt>
          <cx:pt idx="778">275.05067144204003</cx:pt>
          <cx:pt idx="779">275.05067144204003</cx:pt>
          <cx:pt idx="780">275.05067144204003</cx:pt>
          <cx:pt idx="781">275.05067144204003</cx:pt>
          <cx:pt idx="782">275.05067144204003</cx:pt>
          <cx:pt idx="783">275.05067144204003</cx:pt>
          <cx:pt idx="784">275.05067144204003</cx:pt>
          <cx:pt idx="785">275.05067144204003</cx:pt>
          <cx:pt idx="786">275.05067144204003</cx:pt>
          <cx:pt idx="787">275.05067144204003</cx:pt>
          <cx:pt idx="788">275.05067144204003</cx:pt>
          <cx:pt idx="789">275.05067144204003</cx:pt>
          <cx:pt idx="790">275.05067144204003</cx:pt>
          <cx:pt idx="791">275.05067144204003</cx:pt>
          <cx:pt idx="792">275.05067144204003</cx:pt>
          <cx:pt idx="793">275.05067144204003</cx:pt>
          <cx:pt idx="794">275.05067144204003</cx:pt>
          <cx:pt idx="795">275.05067144204003</cx:pt>
          <cx:pt idx="796">275.05067144204003</cx:pt>
          <cx:pt idx="797">275.05067144204003</cx:pt>
          <cx:pt idx="798">275.05067144204003</cx:pt>
          <cx:pt idx="799">275.05067144204003</cx:pt>
          <cx:pt idx="800">275.05067144204003</cx:pt>
          <cx:pt idx="801">275.05067144204003</cx:pt>
          <cx:pt idx="802">275.05067144204003</cx:pt>
          <cx:pt idx="803">275.05067144204003</cx:pt>
          <cx:pt idx="804">275.05067144204003</cx:pt>
          <cx:pt idx="805">275.05067144204003</cx:pt>
          <cx:pt idx="806">275.05067144204003</cx:pt>
          <cx:pt idx="807">275.05067144204003</cx:pt>
          <cx:pt idx="808">275.05067144204003</cx:pt>
          <cx:pt idx="809">275.05067144204003</cx:pt>
          <cx:pt idx="810">275.05067144204003</cx:pt>
          <cx:pt idx="811">275.05067144204003</cx:pt>
          <cx:pt idx="812">275.05067144204003</cx:pt>
          <cx:pt idx="813">275.05067144204003</cx:pt>
          <cx:pt idx="814">274.79212139887835</cx:pt>
          <cx:pt idx="815">274.79212139887835</cx:pt>
          <cx:pt idx="816">274.79212139887835</cx:pt>
          <cx:pt idx="817">274.79212139887835</cx:pt>
          <cx:pt idx="818">274.79212139887835</cx:pt>
          <cx:pt idx="819">274.07477516977752</cx:pt>
          <cx:pt idx="820">274.07477516977752</cx:pt>
          <cx:pt idx="821">274.07477516977752</cx:pt>
          <cx:pt idx="822">274.07477516977752</cx:pt>
          <cx:pt idx="823">274.07477516977752</cx:pt>
          <cx:pt idx="824">274.07477516977752</cx:pt>
          <cx:pt idx="825">274.07477516977752</cx:pt>
          <cx:pt idx="826">274.07477516977752</cx:pt>
          <cx:pt idx="827">274.07477516977752</cx:pt>
          <cx:pt idx="828">274.07477516977752</cx:pt>
          <cx:pt idx="829">274.07477516977752</cx:pt>
          <cx:pt idx="830">274.05591685127752</cx:pt>
          <cx:pt idx="831">273.99679566080698</cx:pt>
          <cx:pt idx="832">273.99679566080698</cx:pt>
          <cx:pt idx="833">273.99679566080698</cx:pt>
          <cx:pt idx="834">273.99679566080698</cx:pt>
          <cx:pt idx="835">273.99679566080698</cx:pt>
          <cx:pt idx="836">273.99679566080698</cx:pt>
          <cx:pt idx="837">273.77461621292201</cx:pt>
          <cx:pt idx="838">273.57449738963851</cx:pt>
          <cx:pt idx="839">273.57449738963851</cx:pt>
          <cx:pt idx="840">273.574497389638</cx:pt>
          <cx:pt idx="841">273.574497389638</cx:pt>
          <cx:pt idx="842">273.574497389638</cx:pt>
          <cx:pt idx="843">273.574497389638</cx:pt>
          <cx:pt idx="844">273.574497389638</cx:pt>
          <cx:pt idx="845">273.574497389638</cx:pt>
          <cx:pt idx="846">273.574497389638</cx:pt>
          <cx:pt idx="847">273.574497389638</cx:pt>
          <cx:pt idx="848">273.574497389638</cx:pt>
          <cx:pt idx="849">273.574497389638</cx:pt>
          <cx:pt idx="850">273.574497389638</cx:pt>
          <cx:pt idx="851">273.574497389638</cx:pt>
          <cx:pt idx="852">273.574497389638</cx:pt>
          <cx:pt idx="853">273.574497389638</cx:pt>
          <cx:pt idx="854">273.574497389638</cx:pt>
          <cx:pt idx="855">273.574497389638</cx:pt>
          <cx:pt idx="856">273.574497389638</cx:pt>
          <cx:pt idx="857">273.574497389638</cx:pt>
          <cx:pt idx="858">273.574497389638</cx:pt>
          <cx:pt idx="859">273.574497389638</cx:pt>
          <cx:pt idx="860">273.574497389638</cx:pt>
          <cx:pt idx="861">273.574497389638</cx:pt>
          <cx:pt idx="862">273.574497389638</cx:pt>
          <cx:pt idx="863">273.00849322466001</cx:pt>
          <cx:pt idx="864">272.68375374841253</cx:pt>
          <cx:pt idx="865">270.76480938430751</cx:pt>
          <cx:pt idx="866">270.76480938430751</cx:pt>
          <cx:pt idx="867">269.91934474133751</cx:pt>
          <cx:pt idx="868">269.32107606081712</cx:pt>
          <cx:pt idx="869">269.25842409704501</cx:pt>
          <cx:pt idx="870">269.25842409704501</cx:pt>
          <cx:pt idx="871">268.82632855201251</cx:pt>
          <cx:pt idx="872">268.82632855201251</cx:pt>
          <cx:pt idx="873">268.80695632154749</cx:pt>
          <cx:pt idx="874">268.80695632154749</cx:pt>
          <cx:pt idx="875">268.80695632154749</cx:pt>
          <cx:pt idx="876">268.80695632154749</cx:pt>
          <cx:pt idx="877">268.80695632154749</cx:pt>
          <cx:pt idx="878">268.80695632154749</cx:pt>
          <cx:pt idx="879">268.80695632154749</cx:pt>
          <cx:pt idx="880">268.80695632154749</cx:pt>
          <cx:pt idx="881">268.80695632154749</cx:pt>
          <cx:pt idx="882">268.80695632154749</cx:pt>
          <cx:pt idx="883">268.80695632154749</cx:pt>
          <cx:pt idx="884">268.80695632154749</cx:pt>
          <cx:pt idx="885">268.80695632154749</cx:pt>
          <cx:pt idx="886">268.80695632154749</cx:pt>
          <cx:pt idx="887">268.80695632154749</cx:pt>
          <cx:pt idx="888">268.80695632154749</cx:pt>
          <cx:pt idx="889">268.80695632154749</cx:pt>
          <cx:pt idx="890">268.80695632154749</cx:pt>
          <cx:pt idx="891">268.80695632154749</cx:pt>
          <cx:pt idx="892">268.80695632154749</cx:pt>
          <cx:pt idx="893">268.80695632154749</cx:pt>
          <cx:pt idx="894">268.80695632154749</cx:pt>
          <cx:pt idx="895">268.80695632154749</cx:pt>
          <cx:pt idx="896">268.80695632154749</cx:pt>
          <cx:pt idx="897">268.80695632154749</cx:pt>
          <cx:pt idx="898">268.80695632154749</cx:pt>
          <cx:pt idx="899">268.80695632154749</cx:pt>
          <cx:pt idx="900">268.675460845602</cx:pt>
          <cx:pt idx="901">268.675460845602</cx:pt>
          <cx:pt idx="902">268.675460845602</cx:pt>
          <cx:pt idx="903">268.675460845602</cx:pt>
          <cx:pt idx="904">268.675460845602</cx:pt>
          <cx:pt idx="905">268.675460845602</cx:pt>
          <cx:pt idx="906">268.675460845602</cx:pt>
          <cx:pt idx="907">268.675460845602</cx:pt>
          <cx:pt idx="908">268.675460845602</cx:pt>
          <cx:pt idx="909">268.675460845602</cx:pt>
          <cx:pt idx="910">268.675460845602</cx:pt>
          <cx:pt idx="911">268.675460845602</cx:pt>
          <cx:pt idx="912">268.675460845602</cx:pt>
          <cx:pt idx="913">268.675460845602</cx:pt>
          <cx:pt idx="914">268.675460845602</cx:pt>
          <cx:pt idx="915">268.675460845602</cx:pt>
          <cx:pt idx="916">268.675460845602</cx:pt>
          <cx:pt idx="917">268.675460845602</cx:pt>
          <cx:pt idx="918">268.675460845602</cx:pt>
          <cx:pt idx="919">268.675460845602</cx:pt>
          <cx:pt idx="920">268.675460845602</cx:pt>
          <cx:pt idx="921">268.675460845602</cx:pt>
          <cx:pt idx="922">268.675460845602</cx:pt>
          <cx:pt idx="923">268.675460845602</cx:pt>
          <cx:pt idx="924">268.61408248156732</cx:pt>
          <cx:pt idx="925">268.16460787678403</cx:pt>
          <cx:pt idx="926">268.16460787678403</cx:pt>
          <cx:pt idx="927">267.92764291876603</cx:pt>
          <cx:pt idx="928">267.92764291876603</cx:pt>
          <cx:pt idx="929">267.92764291876603</cx:pt>
          <cx:pt idx="930">267.92764291876603</cx:pt>
          <cx:pt idx="931">267.59365290532236</cx:pt>
          <cx:pt idx="932">267.59365290532236</cx:pt>
          <cx:pt idx="933">267.59365290532236</cx:pt>
          <cx:pt idx="934">267.59365290532236</cx:pt>
          <cx:pt idx="935">267.59365290532236</cx:pt>
          <cx:pt idx="936">267.59365290532236</cx:pt>
          <cx:pt idx="937">267.59365290532236</cx:pt>
          <cx:pt idx="938">267.59365290532236</cx:pt>
          <cx:pt idx="939">267.59365290532236</cx:pt>
          <cx:pt idx="940">267.59365290532236</cx:pt>
          <cx:pt idx="941">267.59365290532236</cx:pt>
          <cx:pt idx="942">267.59365290532236</cx:pt>
          <cx:pt idx="943">267.46039044196465</cx:pt>
          <cx:pt idx="944">267.46039044196465</cx:pt>
          <cx:pt idx="945">267.46039044196465</cx:pt>
          <cx:pt idx="946">267.46039044196465</cx:pt>
          <cx:pt idx="947">267.46039044196465</cx:pt>
          <cx:pt idx="948">267.46039044196465</cx:pt>
          <cx:pt idx="949">267.46039044196465</cx:pt>
          <cx:pt idx="950">267.46039044196465</cx:pt>
          <cx:pt idx="951">266.65625798876249</cx:pt>
          <cx:pt idx="952">266.65625798876249</cx:pt>
          <cx:pt idx="953">266.65625798876249</cx:pt>
          <cx:pt idx="954">266.41383269354333</cx:pt>
          <cx:pt idx="955">266.40302130876</cx:pt>
          <cx:pt idx="956">266.36506694951402</cx:pt>
          <cx:pt idx="957">266.04711401340501</cx:pt>
          <cx:pt idx="958">266.04711401340501</cx:pt>
          <cx:pt idx="959">266.04711401340501</cx:pt>
          <cx:pt idx="960">265.66908052535001</cx:pt>
          <cx:pt idx="961">265.66908052535001</cx:pt>
          <cx:pt idx="962">265.66908052535001</cx:pt>
          <cx:pt idx="963">265.66908052535001</cx:pt>
          <cx:pt idx="964">265.66908052535001</cx:pt>
          <cx:pt idx="965">265.47411498106999</cx:pt>
          <cx:pt idx="966">265.14258778658802</cx:pt>
          <cx:pt idx="967">264.90031842197197</cx:pt>
          <cx:pt idx="968">264.90031842197197</cx:pt>
          <cx:pt idx="969">264.90031842197197</cx:pt>
          <cx:pt idx="970">264.90031842197197</cx:pt>
          <cx:pt idx="971">264.90031842197197</cx:pt>
          <cx:pt idx="972">264.90031842197197</cx:pt>
          <cx:pt idx="973">264.71021966997199</cx:pt>
          <cx:pt idx="974">264.15537645227198</cx:pt>
          <cx:pt idx="975">263.8391876720753</cx:pt>
          <cx:pt idx="976">263.8391876720753</cx:pt>
          <cx:pt idx="977">263.8391876720753</cx:pt>
          <cx:pt idx="978">263.8391876720753</cx:pt>
          <cx:pt idx="979">263.3989018907605</cx:pt>
          <cx:pt idx="980">263.3749157770057</cx:pt>
          <cx:pt idx="981">263.3749157770057</cx:pt>
          <cx:pt idx="982">263.3749157770057</cx:pt>
          <cx:pt idx="983">263.3749157770057</cx:pt>
          <cx:pt idx="984">263.02751101006834</cx:pt>
          <cx:pt idx="985">262.94009989583498</cx:pt>
          <cx:pt idx="986">262.94009989583498</cx:pt>
          <cx:pt idx="987">262.94009989583498</cx:pt>
          <cx:pt idx="988">262.94009989583498</cx:pt>
          <cx:pt idx="989">262.94009989583498</cx:pt>
          <cx:pt idx="990">262.94009989583498</cx:pt>
          <cx:pt idx="991">262.89251341821199</cx:pt>
          <cx:pt idx="992">262.73421512505001</cx:pt>
          <cx:pt idx="993">262.66658460998468</cx:pt>
          <cx:pt idx="994">262.26467916095748</cx:pt>
          <cx:pt idx="995">262.2163762277533</cx:pt>
          <cx:pt idx="996">262.17669051796997</cx:pt>
          <cx:pt idx="997">261.54511014108596</cx:pt>
          <cx:pt idx="998">261.54511014108596</cx:pt>
          <cx:pt idx="999">260.83881074628397</cx:pt>
          <cx:pt idx="1000">260.75134410185001</cx:pt>
          <cx:pt idx="1001">260.43505266529803</cx:pt>
          <cx:pt idx="1002">260.23052972120098</cx:pt>
          <cx:pt idx="1003">260.23052972120098</cx:pt>
          <cx:pt idx="1004">260.23052972120098</cx:pt>
          <cx:pt idx="1005">260.23052972120098</cx:pt>
          <cx:pt idx="1006">260.23052972120098</cx:pt>
          <cx:pt idx="1007">260.23052972120098</cx:pt>
          <cx:pt idx="1008">260.23052972120098</cx:pt>
          <cx:pt idx="1009">260.23052972120098</cx:pt>
          <cx:pt idx="1010">260.23052972120098</cx:pt>
          <cx:pt idx="1011">260.23052972120098</cx:pt>
          <cx:pt idx="1012">260.23052972120098</cx:pt>
          <cx:pt idx="1013">260.23052972120098</cx:pt>
          <cx:pt idx="1014">260.23052972120098</cx:pt>
          <cx:pt idx="1015">260.23052972120098</cx:pt>
          <cx:pt idx="1016">260.23052972120098</cx:pt>
          <cx:pt idx="1017">260.23052972120098</cx:pt>
          <cx:pt idx="1018">260.23052972120098</cx:pt>
          <cx:pt idx="1019">260.23052972120098</cx:pt>
          <cx:pt idx="1020">260.23052972120098</cx:pt>
          <cx:pt idx="1021">260.23052972120098</cx:pt>
          <cx:pt idx="1022">260.23052972120098</cx:pt>
          <cx:pt idx="1023">260.23052972120098</cx:pt>
          <cx:pt idx="1024">260.23052972120098</cx:pt>
          <cx:pt idx="1025">260.23052972120098</cx:pt>
          <cx:pt idx="1026">260.23052972120098</cx:pt>
          <cx:pt idx="1027">260.23052972120098</cx:pt>
          <cx:pt idx="1028">260.23052972120098</cx:pt>
          <cx:pt idx="1029">260.23052972120098</cx:pt>
          <cx:pt idx="1030">260.07386004202533</cx:pt>
          <cx:pt idx="1031">260.07386004202533</cx:pt>
          <cx:pt idx="1032">260.07386004202533</cx:pt>
          <cx:pt idx="1033">260.07386004202533</cx:pt>
          <cx:pt idx="1034">260.07386004202533</cx:pt>
          <cx:pt idx="1035">260.07386004202533</cx:pt>
          <cx:pt idx="1036">260.07386004202533</cx:pt>
          <cx:pt idx="1037">260.07386004202533</cx:pt>
          <cx:pt idx="1038">260.07386004202533</cx:pt>
          <cx:pt idx="1039">260.07386004202533</cx:pt>
          <cx:pt idx="1040">260.07386004202533</cx:pt>
          <cx:pt idx="1041">259.71942266616531</cx:pt>
          <cx:pt idx="1042">259.71942266616531</cx:pt>
          <cx:pt idx="1043">259.71942266616531</cx:pt>
          <cx:pt idx="1044">259.71942266616531</cx:pt>
          <cx:pt idx="1045">259.71942266616531</cx:pt>
          <cx:pt idx="1046">259.71942266616531</cx:pt>
          <cx:pt idx="1047">259.71942266616531</cx:pt>
          <cx:pt idx="1048">259.71942266616531</cx:pt>
          <cx:pt idx="1049">259.71942266616531</cx:pt>
          <cx:pt idx="1050">259.56674437291599</cx:pt>
          <cx:pt idx="1051">259.56674437291599</cx:pt>
          <cx:pt idx="1052">259.56674437291599</cx:pt>
          <cx:pt idx="1053">258.227531864095</cx:pt>
          <cx:pt idx="1054">258.20423177893201</cx:pt>
          <cx:pt idx="1055">257.542968245265</cx:pt>
          <cx:pt idx="1056">257.542968245265</cx:pt>
          <cx:pt idx="1057">257.542968245265</cx:pt>
          <cx:pt idx="1058">257.25503516406167</cx:pt>
          <cx:pt idx="1059">257.25503516406167</cx:pt>
          <cx:pt idx="1060">257.23133882067333</cx:pt>
          <cx:pt idx="1061">257.02648855916999</cx:pt>
          <cx:pt idx="1062">256.72654948427999</cx:pt>
          <cx:pt idx="1063">256.72050005978548</cx:pt>
          <cx:pt idx="1064">256.72050005978548</cx:pt>
          <cx:pt idx="1065">256.72050005978548</cx:pt>
          <cx:pt idx="1066">256.72050005978548</cx:pt>
          <cx:pt idx="1067">256.72050005978548</cx:pt>
          <cx:pt idx="1068">256.72050005978548</cx:pt>
          <cx:pt idx="1069">256.72050005978548</cx:pt>
          <cx:pt idx="1070">256.72050005978548</cx:pt>
          <cx:pt idx="1071">256.72050005978548</cx:pt>
          <cx:pt idx="1072">256.72050005978548</cx:pt>
          <cx:pt idx="1073">256.72050005978548</cx:pt>
          <cx:pt idx="1074">256.72050005978548</cx:pt>
          <cx:pt idx="1075">256.72050005978548</cx:pt>
          <cx:pt idx="1076">256.72050005978548</cx:pt>
          <cx:pt idx="1077">256.72050005978548</cx:pt>
          <cx:pt idx="1078">256.72050005978548</cx:pt>
          <cx:pt idx="1079">256.72050005978548</cx:pt>
          <cx:pt idx="1080">256.72050005978548</cx:pt>
          <cx:pt idx="1081">256.72050005978548</cx:pt>
          <cx:pt idx="1082">256.72050005978548</cx:pt>
          <cx:pt idx="1083">256.72050005978548</cx:pt>
          <cx:pt idx="1084">256.72050005978548</cx:pt>
          <cx:pt idx="1085">256.72050005978548</cx:pt>
          <cx:pt idx="1086">256.72050005978548</cx:pt>
          <cx:pt idx="1087">256.72050005978548</cx:pt>
          <cx:pt idx="1088">256.72050005978548</cx:pt>
          <cx:pt idx="1089">256.72050005978548</cx:pt>
          <cx:pt idx="1090">256.72050005978548</cx:pt>
          <cx:pt idx="1091">256.72050005978548</cx:pt>
          <cx:pt idx="1092">256.72050005978548</cx:pt>
          <cx:pt idx="1093">256.72050005978548</cx:pt>
          <cx:pt idx="1094">256.72050005978548</cx:pt>
          <cx:pt idx="1095">256.72050005978548</cx:pt>
          <cx:pt idx="1096">256.72050005978548</cx:pt>
          <cx:pt idx="1097">256.72050005978548</cx:pt>
          <cx:pt idx="1098">256.72050005978548</cx:pt>
          <cx:pt idx="1099">256.72050005978548</cx:pt>
          <cx:pt idx="1100">256.72050005978548</cx:pt>
          <cx:pt idx="1101">256.72050005978548</cx:pt>
          <cx:pt idx="1102">256.72050005978548</cx:pt>
          <cx:pt idx="1103">256.72050005978548</cx:pt>
          <cx:pt idx="1104">256.72050005978548</cx:pt>
          <cx:pt idx="1105">256.72050005978548</cx:pt>
          <cx:pt idx="1106">256.72050005978548</cx:pt>
          <cx:pt idx="1107">256.72050005978548</cx:pt>
          <cx:pt idx="1108">256.72050005978548</cx:pt>
          <cx:pt idx="1109">256.72050005978548</cx:pt>
          <cx:pt idx="1110">256.72050005978548</cx:pt>
          <cx:pt idx="1111">256.72050005978548</cx:pt>
          <cx:pt idx="1112">256.72050005978548</cx:pt>
          <cx:pt idx="1113">256.72050005978548</cx:pt>
          <cx:pt idx="1114">256.72050005978548</cx:pt>
          <cx:pt idx="1115">256.72050005978548</cx:pt>
          <cx:pt idx="1116">256.72050005978548</cx:pt>
          <cx:pt idx="1117">256.72050005978548</cx:pt>
          <cx:pt idx="1118">256.72050005978548</cx:pt>
          <cx:pt idx="1119">256.72050005978548</cx:pt>
          <cx:pt idx="1120">256.72050005978548</cx:pt>
          <cx:pt idx="1121">256.69090030037336</cx:pt>
          <cx:pt idx="1122">256.35718571039752</cx:pt>
          <cx:pt idx="1123">256.35718571039752</cx:pt>
          <cx:pt idx="1124">256.35718571039752</cx:pt>
          <cx:pt idx="1125">256.35718571039752</cx:pt>
          <cx:pt idx="1126">256.35718571039752</cx:pt>
          <cx:pt idx="1127">256.15126484329249</cx:pt>
          <cx:pt idx="1128">256.03708758953502</cx:pt>
          <cx:pt idx="1129">256.03708758953502</cx:pt>
          <cx:pt idx="1130">256.03708758953502</cx:pt>
          <cx:pt idx="1131">256.03708758953502</cx:pt>
          <cx:pt idx="1132">256.03708758953502</cx:pt>
          <cx:pt idx="1133">256.03708758953502</cx:pt>
          <cx:pt idx="1134">255.70402154572</cx:pt>
          <cx:pt idx="1135">254.308545422875</cx:pt>
          <cx:pt idx="1136">254.308545422875</cx:pt>
          <cx:pt idx="1137">254.308545422875</cx:pt>
          <cx:pt idx="1138">254.308545422875</cx:pt>
          <cx:pt idx="1139">253.42313741148499</cx:pt>
          <cx:pt idx="1140">253.42313741148499</cx:pt>
          <cx:pt idx="1141">253.42313741148499</cx:pt>
          <cx:pt idx="1142">253.42313741148499</cx:pt>
          <cx:pt idx="1143">253.42313741148499</cx:pt>
          <cx:pt idx="1144">253.42313741148499</cx:pt>
          <cx:pt idx="1145">253.42313741148499</cx:pt>
          <cx:pt idx="1146">253.42313741148499</cx:pt>
          <cx:pt idx="1147">253.42313741148499</cx:pt>
          <cx:pt idx="1148">253.42313741148499</cx:pt>
          <cx:pt idx="1149">253.42313741148499</cx:pt>
          <cx:pt idx="1150">253.42313741148499</cx:pt>
          <cx:pt idx="1151">253.42313741148499</cx:pt>
          <cx:pt idx="1152">253.29848873219399</cx:pt>
          <cx:pt idx="1153">253.26083428178001</cx:pt>
          <cx:pt idx="1154">253.05196916951499</cx:pt>
          <cx:pt idx="1155">252.715617771925</cx:pt>
          <cx:pt idx="1156">252.50537236155833</cx:pt>
          <cx:pt idx="1157">252.20081562581569</cx:pt>
          <cx:pt idx="1158">252.20081562581569</cx:pt>
          <cx:pt idx="1159">252.20081562581569</cx:pt>
          <cx:pt idx="1160">252.20081562581569</cx:pt>
          <cx:pt idx="1161">252.20081562581569</cx:pt>
          <cx:pt idx="1162">252.20081562581569</cx:pt>
          <cx:pt idx="1163">252.03383553553198</cx:pt>
          <cx:pt idx="1164">251.69670701430834</cx:pt>
          <cx:pt idx="1165">251.26800832672166</cx:pt>
          <cx:pt idx="1166">251.26800832672166</cx:pt>
          <cx:pt idx="1167">251.26800832672166</cx:pt>
          <cx:pt idx="1168">251.141033727386</cx:pt>
          <cx:pt idx="1169">250.64722335196998</cx:pt>
          <cx:pt idx="1170">250.58597050186799</cx:pt>
          <cx:pt idx="1171">250.58597050186799</cx:pt>
          <cx:pt idx="1172">250.58597050186799</cx:pt>
          <cx:pt idx="1173">250.58597050186799</cx:pt>
          <cx:pt idx="1174">250.26250247505433</cx:pt>
          <cx:pt idx="1175">250.26250247505433</cx:pt>
          <cx:pt idx="1176">250.26250247505433</cx:pt>
          <cx:pt idx="1177">250.26250247505433</cx:pt>
          <cx:pt idx="1178">250.04058750298501</cx:pt>
          <cx:pt idx="1179">250.04058750298501</cx:pt>
          <cx:pt idx="1180">250.04058750298501</cx:pt>
          <cx:pt idx="1181">250.04058750298501</cx:pt>
          <cx:pt idx="1182">250.04058750298501</cx:pt>
          <cx:pt idx="1183">250.04058750298501</cx:pt>
          <cx:pt idx="1184">250.04058750298501</cx:pt>
          <cx:pt idx="1185">250.04058750298501</cx:pt>
          <cx:pt idx="1186">250.04058750298501</cx:pt>
          <cx:pt idx="1187">250.04058750298501</cx:pt>
          <cx:pt idx="1188">250.04058750298501</cx:pt>
          <cx:pt idx="1189">250.04058750298501</cx:pt>
          <cx:pt idx="1190">250.04058750298501</cx:pt>
          <cx:pt idx="1191">250.0284074464025</cx:pt>
          <cx:pt idx="1192">250.0284074464025</cx:pt>
          <cx:pt idx="1193">250.0284074464025</cx:pt>
          <cx:pt idx="1194">249.69427226306334</cx:pt>
          <cx:pt idx="1195">249.33489062320436</cx:pt>
          <cx:pt idx="1196">249.33489062320436</cx:pt>
          <cx:pt idx="1197">249.33489062320436</cx:pt>
          <cx:pt idx="1198">249.33489062320436</cx:pt>
          <cx:pt idx="1199">249.33489062320436</cx:pt>
          <cx:pt idx="1200">249.33489062320436</cx:pt>
          <cx:pt idx="1201">249.33489062320436</cx:pt>
          <cx:pt idx="1202">249.33489062320436</cx:pt>
          <cx:pt idx="1203">249.33489062320436</cx:pt>
          <cx:pt idx="1204">249.146545731419</cx:pt>
          <cx:pt idx="1205">249.10733800060598</cx:pt>
          <cx:pt idx="1206">249.08884349046284</cx:pt>
          <cx:pt idx="1207">249.08478820197669</cx:pt>
          <cx:pt idx="1208">248.40839235786251</cx:pt>
          <cx:pt idx="1209">248.40839235786251</cx:pt>
          <cx:pt idx="1210">248.40839235786251</cx:pt>
          <cx:pt idx="1211">248.34101932093449</cx:pt>
          <cx:pt idx="1212">248.34101932093449</cx:pt>
          <cx:pt idx="1213">248.34101932093449</cx:pt>
          <cx:pt idx="1214">248.34101932093449</cx:pt>
          <cx:pt idx="1215">248.34101932093449</cx:pt>
          <cx:pt idx="1216">248.34101932093449</cx:pt>
          <cx:pt idx="1217">248.34101932093449</cx:pt>
          <cx:pt idx="1218">248.34101932093449</cx:pt>
          <cx:pt idx="1219">248.34101932093449</cx:pt>
          <cx:pt idx="1220">248.34101932093449</cx:pt>
          <cx:pt idx="1221">248.34101932093449</cx:pt>
          <cx:pt idx="1222">248.34101932093449</cx:pt>
          <cx:pt idx="1223">248.22213986115997</cx:pt>
          <cx:pt idx="1224">248.22213986115997</cx:pt>
          <cx:pt idx="1225">248.22213986115997</cx:pt>
          <cx:pt idx="1226">248.22213986115997</cx:pt>
          <cx:pt idx="1227">248.22213986115997</cx:pt>
          <cx:pt idx="1228">248.22213986115997</cx:pt>
          <cx:pt idx="1229">248.22213986115997</cx:pt>
          <cx:pt idx="1230">248.22213986115997</cx:pt>
          <cx:pt idx="1231">248.22213986115997</cx:pt>
          <cx:pt idx="1232">248.22213986115997</cx:pt>
          <cx:pt idx="1233">248.22213986115997</cx:pt>
          <cx:pt idx="1234">248.22213986115997</cx:pt>
          <cx:pt idx="1235">248.22213986115997</cx:pt>
          <cx:pt idx="1236">248.22213986115997</cx:pt>
          <cx:pt idx="1237">248.19480537218001</cx:pt>
          <cx:pt idx="1238">248.19480537218001</cx:pt>
          <cx:pt idx="1239">248.19480537218001</cx:pt>
          <cx:pt idx="1240">248.19480537218001</cx:pt>
          <cx:pt idx="1241">248.14622783026451</cx:pt>
          <cx:pt idx="1242">248.00244399679801</cx:pt>
          <cx:pt idx="1243">248.00244399679801</cx:pt>
          <cx:pt idx="1244">247.32980238169799</cx:pt>
          <cx:pt idx="1245">247.32980238169799</cx:pt>
          <cx:pt idx="1246">247.32980238169799</cx:pt>
          <cx:pt idx="1247">247.32980238169799</cx:pt>
          <cx:pt idx="1248">247.32980238169799</cx:pt>
          <cx:pt idx="1249">246.93130020869049</cx:pt>
          <cx:pt idx="1250">246.66768091654998</cx:pt>
          <cx:pt idx="1251">246.32748367407197</cx:pt>
          <cx:pt idx="1252">246.10524416362449</cx:pt>
          <cx:pt idx="1253">246.10524416362449</cx:pt>
          <cx:pt idx="1254">246.10524416362449</cx:pt>
          <cx:pt idx="1255">246.10524416362449</cx:pt>
          <cx:pt idx="1256">246.10524416362449</cx:pt>
          <cx:pt idx="1257">246.10524416362449</cx:pt>
          <cx:pt idx="1258">246.10524416362449</cx:pt>
          <cx:pt idx="1259">246.10524416362449</cx:pt>
          <cx:pt idx="1260">246.08116619460336</cx:pt>
          <cx:pt idx="1261">246.07566908609451</cx:pt>
          <cx:pt idx="1262">246.07566908609451</cx:pt>
          <cx:pt idx="1263">246.07566908609451</cx:pt>
          <cx:pt idx="1264">246.07566908609451</cx:pt>
          <cx:pt idx="1265">246.07566908609451</cx:pt>
          <cx:pt idx="1266">246.07566908609451</cx:pt>
          <cx:pt idx="1267">246.07566908609451</cx:pt>
          <cx:pt idx="1268">246.07566908609451</cx:pt>
          <cx:pt idx="1269">246.07566908609451</cx:pt>
          <cx:pt idx="1270">246.07566908609451</cx:pt>
          <cx:pt idx="1271">246.07566908609451</cx:pt>
          <cx:pt idx="1272">246.07566908609451</cx:pt>
          <cx:pt idx="1273">245.95649423944676</cx:pt>
          <cx:pt idx="1274">245.748953159352</cx:pt>
          <cx:pt idx="1275">245.53563138877001</cx:pt>
          <cx:pt idx="1276">245.452576909611</cx:pt>
          <cx:pt idx="1277">245.452576909611</cx:pt>
          <cx:pt idx="1278">244.829231630343</cx:pt>
          <cx:pt idx="1279">244.829231630343</cx:pt>
          <cx:pt idx="1280">244.829231630343</cx:pt>
          <cx:pt idx="1281">244.829231630343</cx:pt>
          <cx:pt idx="1282">244.829231630343</cx:pt>
          <cx:pt idx="1283">244.829231630343</cx:pt>
          <cx:pt idx="1284">244.829231630343</cx:pt>
          <cx:pt idx="1285">244.829231630343</cx:pt>
          <cx:pt idx="1286">244.829231630343</cx:pt>
          <cx:pt idx="1287">244.829231630343</cx:pt>
          <cx:pt idx="1288">244.829231630343</cx:pt>
          <cx:pt idx="1289">244.829231630343</cx:pt>
          <cx:pt idx="1290">244.75880264268676</cx:pt>
          <cx:pt idx="1291">244.75880264268676</cx:pt>
          <cx:pt idx="1292">244.75880264268676</cx:pt>
          <cx:pt idx="1293">244.75880264268676</cx:pt>
          <cx:pt idx="1294">244.75880264268676</cx:pt>
          <cx:pt idx="1295">244.75880264268676</cx:pt>
          <cx:pt idx="1296">244.29669909313466</cx:pt>
          <cx:pt idx="1297">244.29669909313466</cx:pt>
          <cx:pt idx="1298">244.29669909313466</cx:pt>
          <cx:pt idx="1299">244.29669909313466</cx:pt>
          <cx:pt idx="1300">244.29669909313466</cx:pt>
          <cx:pt idx="1301">244.29669909313466</cx:pt>
          <cx:pt idx="1302">244.29669909313466</cx:pt>
          <cx:pt idx="1303">244.29669909313466</cx:pt>
          <cx:pt idx="1304">244.29669909313466</cx:pt>
          <cx:pt idx="1305">244.29669909313466</cx:pt>
          <cx:pt idx="1306">244.29669909313466</cx:pt>
          <cx:pt idx="1307">244.29669909313466</cx:pt>
          <cx:pt idx="1308">244.29669909313466</cx:pt>
          <cx:pt idx="1309">244.29669909313466</cx:pt>
          <cx:pt idx="1310">244.29669909313466</cx:pt>
          <cx:pt idx="1311">244.29669909313466</cx:pt>
          <cx:pt idx="1312">244.29669909313466</cx:pt>
          <cx:pt idx="1313">244.29669909313466</cx:pt>
          <cx:pt idx="1314">244.29669909313466</cx:pt>
          <cx:pt idx="1315">244.29669909313466</cx:pt>
          <cx:pt idx="1316">244.29669909313466</cx:pt>
          <cx:pt idx="1317">244.29669909313466</cx:pt>
          <cx:pt idx="1318">244.29669909313466</cx:pt>
          <cx:pt idx="1319">244.29669909313466</cx:pt>
          <cx:pt idx="1320">244.29669909313466</cx:pt>
          <cx:pt idx="1321">244.29669909313466</cx:pt>
          <cx:pt idx="1322">244.29669909313466</cx:pt>
          <cx:pt idx="1323">244.29669909313466</cx:pt>
          <cx:pt idx="1324">244.29669909313466</cx:pt>
          <cx:pt idx="1325">244.29669909313466</cx:pt>
          <cx:pt idx="1326">244.29669909313466</cx:pt>
          <cx:pt idx="1327">244.29669909313466</cx:pt>
          <cx:pt idx="1328">244.29669909313466</cx:pt>
          <cx:pt idx="1329">244.29669909313466</cx:pt>
          <cx:pt idx="1330">244.29669909313466</cx:pt>
          <cx:pt idx="1331">244.29669909313466</cx:pt>
          <cx:pt idx="1332">244.29669909313466</cx:pt>
          <cx:pt idx="1333">244.29669909313466</cx:pt>
          <cx:pt idx="1334">244.29669909313466</cx:pt>
          <cx:pt idx="1335">244.24096115462598</cx:pt>
          <cx:pt idx="1336">244.02174378370231</cx:pt>
          <cx:pt idx="1337">243.88997685990898</cx:pt>
          <cx:pt idx="1338">243.88997685990898</cx:pt>
          <cx:pt idx="1339">243.88997685990898</cx:pt>
          <cx:pt idx="1340">243.88997685990898</cx:pt>
          <cx:pt idx="1341">243.45204409402001</cx:pt>
          <cx:pt idx="1342">243.378564689538</cx:pt>
          <cx:pt idx="1343">242.81189177341199</cx:pt>
          <cx:pt idx="1344">242.22468564644001</cx:pt>
          <cx:pt idx="1345">242.22468564644001</cx:pt>
          <cx:pt idx="1346">242.22468564644001</cx:pt>
          <cx:pt idx="1347">242.22468564644001</cx:pt>
          <cx:pt idx="1348">242.22468564644001</cx:pt>
          <cx:pt idx="1349">242.22468564644001</cx:pt>
          <cx:pt idx="1350">242.22468564644001</cx:pt>
          <cx:pt idx="1351">242.22468564644001</cx:pt>
          <cx:pt idx="1352">242.22468564644001</cx:pt>
          <cx:pt idx="1353">242.22468564644001</cx:pt>
          <cx:pt idx="1354">242.22468564644001</cx:pt>
          <cx:pt idx="1355">242.22468564644001</cx:pt>
          <cx:pt idx="1356">242.22468564644001</cx:pt>
          <cx:pt idx="1357">242.22468564644001</cx:pt>
          <cx:pt idx="1358">242.22468564644001</cx:pt>
          <cx:pt idx="1359">242.22468564644001</cx:pt>
          <cx:pt idx="1360">242.22468564644001</cx:pt>
          <cx:pt idx="1361">242.22468564644001</cx:pt>
          <cx:pt idx="1362">242.22468564644001</cx:pt>
          <cx:pt idx="1363">242.22468564644001</cx:pt>
          <cx:pt idx="1364">242.22468564644001</cx:pt>
          <cx:pt idx="1365">242.22468564644001</cx:pt>
          <cx:pt idx="1366">242.22468564644001</cx:pt>
          <cx:pt idx="1367">242.22468564644001</cx:pt>
          <cx:pt idx="1368">242.22468564644001</cx:pt>
          <cx:pt idx="1369">242.1905659435495</cx:pt>
          <cx:pt idx="1370">242.1905659435495</cx:pt>
          <cx:pt idx="1371">242.1905659435495</cx:pt>
          <cx:pt idx="1372">242.1905659435495</cx:pt>
          <cx:pt idx="1373">242.1905659435495</cx:pt>
          <cx:pt idx="1374">242.1905659435495</cx:pt>
          <cx:pt idx="1375">242.09671310325399</cx:pt>
          <cx:pt idx="1376">241.81746566573449</cx:pt>
          <cx:pt idx="1377">241.81746566573449</cx:pt>
          <cx:pt idx="1378">241.81746566573449</cx:pt>
          <cx:pt idx="1379">241.81746566573449</cx:pt>
          <cx:pt idx="1380">241.81746566573449</cx:pt>
          <cx:pt idx="1381">241.81746566573449</cx:pt>
          <cx:pt idx="1382">241.81746566573449</cx:pt>
          <cx:pt idx="1383">241.81746566573449</cx:pt>
          <cx:pt idx="1384">241.81746566573449</cx:pt>
          <cx:pt idx="1385">241.81746566573449</cx:pt>
          <cx:pt idx="1386">241.81746566573449</cx:pt>
          <cx:pt idx="1387">241.81746566573449</cx:pt>
          <cx:pt idx="1388">241.81746566573449</cx:pt>
          <cx:pt idx="1389">241.81746566573449</cx:pt>
          <cx:pt idx="1390">241.81746566573449</cx:pt>
          <cx:pt idx="1391">241.81746566573449</cx:pt>
          <cx:pt idx="1392">241.81746566573449</cx:pt>
          <cx:pt idx="1393">241.81746566573449</cx:pt>
          <cx:pt idx="1394">241.81746566573449</cx:pt>
          <cx:pt idx="1395">241.60494286196715</cx:pt>
          <cx:pt idx="1396">241.56326099634802</cx:pt>
          <cx:pt idx="1397">241.56326099634802</cx:pt>
          <cx:pt idx="1398">241.19054957553726</cx:pt>
          <cx:pt idx="1399">241.19054957553726</cx:pt>
          <cx:pt idx="1400">241.19054957553726</cx:pt>
          <cx:pt idx="1401">241.09208548560099</cx:pt>
          <cx:pt idx="1402">241.09208548560099</cx:pt>
          <cx:pt idx="1403">241.09208548560099</cx:pt>
          <cx:pt idx="1404">241.09208548560099</cx:pt>
          <cx:pt idx="1405">241.09208548560099</cx:pt>
          <cx:pt idx="1406">241.09208548560099</cx:pt>
          <cx:pt idx="1407">241.09208548560099</cx:pt>
          <cx:pt idx="1408">241.09208548560099</cx:pt>
          <cx:pt idx="1409">241.09208548560099</cx:pt>
          <cx:pt idx="1410">241.09208548560099</cx:pt>
          <cx:pt idx="1411">241.09208548560099</cx:pt>
          <cx:pt idx="1412">241.09208548560099</cx:pt>
          <cx:pt idx="1413">241.09208548560099</cx:pt>
          <cx:pt idx="1414">241.09208548560099</cx:pt>
          <cx:pt idx="1415">241.09208548560099</cx:pt>
          <cx:pt idx="1416">241.09208548560099</cx:pt>
          <cx:pt idx="1417">241.09208548560099</cx:pt>
          <cx:pt idx="1418">241.09208548560099</cx:pt>
          <cx:pt idx="1419">241.09208548560099</cx:pt>
          <cx:pt idx="1420">240.93708043838143</cx:pt>
          <cx:pt idx="1421">240.93708043838143</cx:pt>
          <cx:pt idx="1422">240.79228256782503</cx:pt>
          <cx:pt idx="1423">240.79228256782503</cx:pt>
          <cx:pt idx="1424">240.79228256782503</cx:pt>
          <cx:pt idx="1425">240.203065957197</cx:pt>
          <cx:pt idx="1426">240.16448596937198</cx:pt>
          <cx:pt idx="1427">239.79685791574499</cx:pt>
          <cx:pt idx="1428">239.65800890526668</cx:pt>
          <cx:pt idx="1429">239.65800890526668</cx:pt>
          <cx:pt idx="1430">239.00893336437198</cx:pt>
          <cx:pt idx="1431">238.42932377022751</cx:pt>
          <cx:pt idx="1432">238.13452041291197</cx:pt>
          <cx:pt idx="1433">238.13452041291197</cx:pt>
          <cx:pt idx="1434">237.70177727041275</cx:pt>
          <cx:pt idx="1435">237.4661923598625</cx:pt>
          <cx:pt idx="1436">237.4282094742743</cx:pt>
          <cx:pt idx="1437">237.08403398656802</cx:pt>
          <cx:pt idx="1438">237.08403398656802</cx:pt>
          <cx:pt idx="1439">236.92689109155651</cx:pt>
          <cx:pt idx="1440">236.92689109155651</cx:pt>
          <cx:pt idx="1441">236.92689109155651</cx:pt>
          <cx:pt idx="1442">236.92689109155651</cx:pt>
          <cx:pt idx="1443">236.92689109155651</cx:pt>
          <cx:pt idx="1444">236.92689109155651</cx:pt>
          <cx:pt idx="1445">236.92689109155651</cx:pt>
          <cx:pt idx="1446">236.92689109155651</cx:pt>
          <cx:pt idx="1447">236.92689109155651</cx:pt>
          <cx:pt idx="1448">236.92689109155651</cx:pt>
          <cx:pt idx="1449">236.92689109155651</cx:pt>
          <cx:pt idx="1450">236.92689109155651</cx:pt>
          <cx:pt idx="1451">236.92689109155651</cx:pt>
          <cx:pt idx="1452">236.92689109155651</cx:pt>
          <cx:pt idx="1453">236.92689109155651</cx:pt>
          <cx:pt idx="1454">236.92689109155651</cx:pt>
          <cx:pt idx="1455">236.92689109155651</cx:pt>
          <cx:pt idx="1456">236.92689109155651</cx:pt>
          <cx:pt idx="1457">236.92689109155651</cx:pt>
          <cx:pt idx="1458">236.92689109155651</cx:pt>
          <cx:pt idx="1459">236.90670027066398</cx:pt>
          <cx:pt idx="1460">236.8579104321575</cx:pt>
          <cx:pt idx="1461">236.76001579844265</cx:pt>
          <cx:pt idx="1462">236.54713987211429</cx:pt>
          <cx:pt idx="1463">236.16693728592</cx:pt>
          <cx:pt idx="1464">236.14147322536476</cx:pt>
          <cx:pt idx="1465">235.97449340083301</cx:pt>
          <cx:pt idx="1466">235.97449340083301</cx:pt>
          <cx:pt idx="1467">235.97449340083301</cx:pt>
          <cx:pt idx="1468">235.97449340083301</cx:pt>
          <cx:pt idx="1469">235.59764887945167</cx:pt>
          <cx:pt idx="1470">235.59764887945167</cx:pt>
          <cx:pt idx="1471">235.37312586290949</cx:pt>
          <cx:pt idx="1472">235.37312586290949</cx:pt>
          <cx:pt idx="1473">235.37312586290949</cx:pt>
          <cx:pt idx="1474">235.37312586290949</cx:pt>
          <cx:pt idx="1475">235.37312586290949</cx:pt>
          <cx:pt idx="1476">235.37312586290949</cx:pt>
          <cx:pt idx="1477">235.37312586290949</cx:pt>
          <cx:pt idx="1478">235.37312586290949</cx:pt>
          <cx:pt idx="1479">235.37312586290949</cx:pt>
          <cx:pt idx="1480">235.37312586290949</cx:pt>
          <cx:pt idx="1481">235.37312586290949</cx:pt>
          <cx:pt idx="1482">235.37312586290949</cx:pt>
          <cx:pt idx="1483">235.37312586290949</cx:pt>
          <cx:pt idx="1484">235.37312586290949</cx:pt>
          <cx:pt idx="1485">235.37312586290949</cx:pt>
          <cx:pt idx="1486">235.37312586290949</cx:pt>
          <cx:pt idx="1487">235.37312586290949</cx:pt>
          <cx:pt idx="1488">234.35660266567001</cx:pt>
          <cx:pt idx="1489">234.35660266567001</cx:pt>
          <cx:pt idx="1490">233.99709975219164</cx:pt>
          <cx:pt idx="1491">233.58072597528573</cx:pt>
          <cx:pt idx="1492">233.58072597528573</cx:pt>
          <cx:pt idx="1493">233.54380631307666</cx:pt>
          <cx:pt idx="1494">233.533267270235</cx:pt>
          <cx:pt idx="1495">233.125529323378</cx:pt>
          <cx:pt idx="1496">233.125529323378</cx:pt>
          <cx:pt idx="1497">233.125529323378</cx:pt>
          <cx:pt idx="1498">233.125529323378</cx:pt>
          <cx:pt idx="1499">233.125529323378</cx:pt>
          <cx:pt idx="1500">233.125529323378</cx:pt>
          <cx:pt idx="1501">233.125529323378</cx:pt>
          <cx:pt idx="1502">233.125529323378</cx:pt>
          <cx:pt idx="1503">233.125529323378</cx:pt>
          <cx:pt idx="1504">233.125529323378</cx:pt>
          <cx:pt idx="1505">233.125529323378</cx:pt>
          <cx:pt idx="1506">233.125529323378</cx:pt>
          <cx:pt idx="1507">233.125529323378</cx:pt>
          <cx:pt idx="1508">233.125529323378</cx:pt>
          <cx:pt idx="1509">233.125529323378</cx:pt>
          <cx:pt idx="1510">233.125529323378</cx:pt>
          <cx:pt idx="1511">232.94717117392599</cx:pt>
          <cx:pt idx="1512">232.94717117392599</cx:pt>
          <cx:pt idx="1513">232.94717117392599</cx:pt>
          <cx:pt idx="1514">232.94717117392599</cx:pt>
          <cx:pt idx="1515">232.94717117392599</cx:pt>
          <cx:pt idx="1516">232.94717117392599</cx:pt>
          <cx:pt idx="1517">232.94717117392599</cx:pt>
          <cx:pt idx="1518">232.94717117392599</cx:pt>
          <cx:pt idx="1519">232.94717117392599</cx:pt>
          <cx:pt idx="1520">232.94717117392599</cx:pt>
          <cx:pt idx="1521">232.94717117392599</cx:pt>
          <cx:pt idx="1522">232.94717117392599</cx:pt>
          <cx:pt idx="1523">232.94717117392599</cx:pt>
          <cx:pt idx="1524">232.94717117392599</cx:pt>
          <cx:pt idx="1525">232.94717117392599</cx:pt>
          <cx:pt idx="1526">232.94717117392599</cx:pt>
          <cx:pt idx="1527">232.94717117392599</cx:pt>
          <cx:pt idx="1528">232.48185579606201</cx:pt>
          <cx:pt idx="1529">232.48185579606201</cx:pt>
          <cx:pt idx="1530">232.48185579606201</cx:pt>
          <cx:pt idx="1531">232.39244979072001</cx:pt>
          <cx:pt idx="1532">232.39244979072001</cx:pt>
          <cx:pt idx="1533">232.39244979072001</cx:pt>
          <cx:pt idx="1534">232.34433507402233</cx:pt>
          <cx:pt idx="1535">232.34433507402233</cx:pt>
          <cx:pt idx="1536">232.34433507402233</cx:pt>
          <cx:pt idx="1537">232.34433507402233</cx:pt>
          <cx:pt idx="1538">232.34433507402233</cx:pt>
          <cx:pt idx="1539">232.34433507402233</cx:pt>
          <cx:pt idx="1540">232.34433507402233</cx:pt>
          <cx:pt idx="1541">232.34433507402233</cx:pt>
          <cx:pt idx="1542">232.34433507402233</cx:pt>
          <cx:pt idx="1543">232.34433507402233</cx:pt>
          <cx:pt idx="1544">232.34433507402233</cx:pt>
          <cx:pt idx="1545">232.34433507402233</cx:pt>
          <cx:pt idx="1546">232.34433507402233</cx:pt>
          <cx:pt idx="1547">232.34433507402233</cx:pt>
          <cx:pt idx="1548">232.34433507402233</cx:pt>
          <cx:pt idx="1549">232.34433507402233</cx:pt>
          <cx:pt idx="1550">232.34433507402233</cx:pt>
          <cx:pt idx="1551">232.34433507402233</cx:pt>
          <cx:pt idx="1552">232.16992380017714</cx:pt>
          <cx:pt idx="1553">232.16992380017714</cx:pt>
          <cx:pt idx="1554">231.91084983353599</cx:pt>
          <cx:pt idx="1555">231.91084983353599</cx:pt>
          <cx:pt idx="1556">231.08664963277201</cx:pt>
          <cx:pt idx="1557">231.08664963277201</cx:pt>
          <cx:pt idx="1558">231.08664963277201</cx:pt>
          <cx:pt idx="1559">231.08664963277201</cx:pt>
          <cx:pt idx="1560">231.08664963277201</cx:pt>
          <cx:pt idx="1561">231.08664963277201</cx:pt>
          <cx:pt idx="1562">231.08664963277201</cx:pt>
          <cx:pt idx="1563">231.08664963277201</cx:pt>
          <cx:pt idx="1564">231.08664963277201</cx:pt>
          <cx:pt idx="1565">231.08664963277201</cx:pt>
          <cx:pt idx="1566">231.08664963277201</cx:pt>
          <cx:pt idx="1567">231.08664963277201</cx:pt>
          <cx:pt idx="1568">231.08664963277201</cx:pt>
          <cx:pt idx="1569">231.08664963277201</cx:pt>
          <cx:pt idx="1570">231.08664963277201</cx:pt>
          <cx:pt idx="1571">231.08664963277201</cx:pt>
          <cx:pt idx="1572">231.08664963277201</cx:pt>
          <cx:pt idx="1573">231.08664963277201</cx:pt>
          <cx:pt idx="1574">231.08664963277201</cx:pt>
          <cx:pt idx="1575">231.08664963277201</cx:pt>
          <cx:pt idx="1576">231.08664963277201</cx:pt>
          <cx:pt idx="1577">231.08664963277201</cx:pt>
          <cx:pt idx="1578">231.08664963277201</cx:pt>
          <cx:pt idx="1579">231.08664963277201</cx:pt>
          <cx:pt idx="1580">231.08664963277201</cx:pt>
          <cx:pt idx="1581">231.08664963277201</cx:pt>
          <cx:pt idx="1582">231.08664963277201</cx:pt>
          <cx:pt idx="1583">231.08664963277201</cx:pt>
          <cx:pt idx="1584">231.08664963277201</cx:pt>
          <cx:pt idx="1585">231.08664963277201</cx:pt>
          <cx:pt idx="1586">231.08664963277201</cx:pt>
          <cx:pt idx="1587">231.08664963277201</cx:pt>
          <cx:pt idx="1588">231.08664963277201</cx:pt>
          <cx:pt idx="1589">231.08664963277201</cx:pt>
          <cx:pt idx="1590">231.08664963277201</cx:pt>
          <cx:pt idx="1591">231.08664963277201</cx:pt>
          <cx:pt idx="1592">231.08664963277201</cx:pt>
          <cx:pt idx="1593">231.08664963277201</cx:pt>
          <cx:pt idx="1594">231.08664963277201</cx:pt>
          <cx:pt idx="1595">231.08664963277201</cx:pt>
          <cx:pt idx="1596">231.08664963277201</cx:pt>
          <cx:pt idx="1597">231.08664963277201</cx:pt>
          <cx:pt idx="1598">230.92968697802999</cx:pt>
          <cx:pt idx="1599">230.88818275003601</cx:pt>
          <cx:pt idx="1600">230.86036307504</cx:pt>
          <cx:pt idx="1601">230.83689140313601</cx:pt>
          <cx:pt idx="1602">230.83689140313601</cx:pt>
          <cx:pt idx="1603">230.83689140313601</cx:pt>
          <cx:pt idx="1604">230.83689140313601</cx:pt>
          <cx:pt idx="1605">230.83689140313601</cx:pt>
          <cx:pt idx="1606">230.83689140313601</cx:pt>
          <cx:pt idx="1607">230.83689140313601</cx:pt>
          <cx:pt idx="1608">230.83689140313601</cx:pt>
          <cx:pt idx="1609">230.83689140313601</cx:pt>
          <cx:pt idx="1610">230.83689140313601</cx:pt>
          <cx:pt idx="1611">230.83689140313601</cx:pt>
          <cx:pt idx="1612">230.83689140313601</cx:pt>
          <cx:pt idx="1613">230.83689140313601</cx:pt>
          <cx:pt idx="1614">230.83689140313601</cx:pt>
          <cx:pt idx="1615">230.83689140313601</cx:pt>
          <cx:pt idx="1616">230.83689140313601</cx:pt>
          <cx:pt idx="1617">230.83689140313601</cx:pt>
          <cx:pt idx="1618">230.83689140313601</cx:pt>
          <cx:pt idx="1619">230.83689140313601</cx:pt>
          <cx:pt idx="1620">230.83689140313601</cx:pt>
          <cx:pt idx="1621">230.83689140313601</cx:pt>
          <cx:pt idx="1622">230.83689140313601</cx:pt>
          <cx:pt idx="1623">230.83689140313601</cx:pt>
          <cx:pt idx="1624">230.83689140313601</cx:pt>
          <cx:pt idx="1625">230.83689140313601</cx:pt>
          <cx:pt idx="1626">230.83689140313601</cx:pt>
          <cx:pt idx="1627">230.83689140313601</cx:pt>
          <cx:pt idx="1628">230.83689140313601</cx:pt>
          <cx:pt idx="1629">230.83689140313601</cx:pt>
          <cx:pt idx="1630">230.83689140313601</cx:pt>
          <cx:pt idx="1631">230.83689140313601</cx:pt>
          <cx:pt idx="1632">230.83689140313601</cx:pt>
          <cx:pt idx="1633">230.83689140313601</cx:pt>
          <cx:pt idx="1634">230.83689140313601</cx:pt>
          <cx:pt idx="1635">230.83689140313601</cx:pt>
          <cx:pt idx="1636">230.74246786686399</cx:pt>
          <cx:pt idx="1637">230.74246786686399</cx:pt>
          <cx:pt idx="1638">230.74246786686399</cx:pt>
          <cx:pt idx="1639">230.74246786686399</cx:pt>
          <cx:pt idx="1640">230.74246786686399</cx:pt>
          <cx:pt idx="1641">230.72878209007834</cx:pt>
          <cx:pt idx="1642">230.27255353234068</cx:pt>
          <cx:pt idx="1643">230.23924081812299</cx:pt>
          <cx:pt idx="1644">230.23924081812299</cx:pt>
          <cx:pt idx="1645">230.23924081812299</cx:pt>
          <cx:pt idx="1646">229.97592545200132</cx:pt>
          <cx:pt idx="1647">229.97592545200132</cx:pt>
          <cx:pt idx="1648">229.97592545200132</cx:pt>
          <cx:pt idx="1649">229.97592545200132</cx:pt>
          <cx:pt idx="1650">229.97592545200132</cx:pt>
          <cx:pt idx="1651">229.97592545200132</cx:pt>
          <cx:pt idx="1652">229.97592545200132</cx:pt>
          <cx:pt idx="1653">229.97592545200132</cx:pt>
          <cx:pt idx="1654">229.97592545200132</cx:pt>
          <cx:pt idx="1655">229.97592545200132</cx:pt>
          <cx:pt idx="1656">229.97592545200132</cx:pt>
          <cx:pt idx="1657">229.97592545200132</cx:pt>
          <cx:pt idx="1658">229.97592545200132</cx:pt>
          <cx:pt idx="1659">229.97592545200132</cx:pt>
          <cx:pt idx="1660">229.97592545200132</cx:pt>
          <cx:pt idx="1661">229.96152574261666</cx:pt>
          <cx:pt idx="1662">229.71200687368901</cx:pt>
          <cx:pt idx="1663">229.71200687368901</cx:pt>
          <cx:pt idx="1664">229.71200687368901</cx:pt>
          <cx:pt idx="1665">229.71200687368901</cx:pt>
          <cx:pt idx="1666">229.71200687368901</cx:pt>
          <cx:pt idx="1667">229.71200687368901</cx:pt>
          <cx:pt idx="1668">229.71200687368901</cx:pt>
          <cx:pt idx="1669">229.71200687368901</cx:pt>
          <cx:pt idx="1670">229.71200687368901</cx:pt>
          <cx:pt idx="1671">229.71200687368901</cx:pt>
          <cx:pt idx="1672">229.71200687368901</cx:pt>
          <cx:pt idx="1673">229.71200687368901</cx:pt>
          <cx:pt idx="1674">229.71200687368901</cx:pt>
          <cx:pt idx="1675">229.71200687368901</cx:pt>
          <cx:pt idx="1676">229.71200687368901</cx:pt>
          <cx:pt idx="1677">229.65388538293766</cx:pt>
          <cx:pt idx="1678">229.65388538293766</cx:pt>
          <cx:pt idx="1679">229.65388538293766</cx:pt>
          <cx:pt idx="1680">229.62639556215868</cx:pt>
          <cx:pt idx="1681">229.62639556215868</cx:pt>
          <cx:pt idx="1682">229.62639556215868</cx:pt>
          <cx:pt idx="1683">229.591151512805</cx:pt>
          <cx:pt idx="1684">229.12675536988351</cx:pt>
          <cx:pt idx="1685">229.12675536988351</cx:pt>
          <cx:pt idx="1686">229.12675536988351</cx:pt>
          <cx:pt idx="1687">229.12675536988351</cx:pt>
          <cx:pt idx="1688">229.12675536988351</cx:pt>
          <cx:pt idx="1689">229.12675536988351</cx:pt>
          <cx:pt idx="1690">229.12675536988351</cx:pt>
          <cx:pt idx="1691">229.12675536988351</cx:pt>
          <cx:pt idx="1692">229.12675536988351</cx:pt>
          <cx:pt idx="1693">229.12675536988351</cx:pt>
          <cx:pt idx="1694">229.12675536988351</cx:pt>
          <cx:pt idx="1695">229.12675536988351</cx:pt>
          <cx:pt idx="1696">229.12675536988351</cx:pt>
          <cx:pt idx="1697">229.12675536988351</cx:pt>
          <cx:pt idx="1698">229.00423251447</cx:pt>
          <cx:pt idx="1699">228.63219179001032</cx:pt>
          <cx:pt idx="1700">228.34476736599501</cx:pt>
          <cx:pt idx="1701">228.262087733632</cx:pt>
          <cx:pt idx="1702">228.262087733632</cx:pt>
          <cx:pt idx="1703">228.262087733632</cx:pt>
          <cx:pt idx="1704">228.262087733632</cx:pt>
          <cx:pt idx="1705">228.262087733632</cx:pt>
          <cx:pt idx="1706">228.262087733632</cx:pt>
          <cx:pt idx="1707">228.262087733632</cx:pt>
          <cx:pt idx="1708">228.262087733632</cx:pt>
          <cx:pt idx="1709">228.262087733632</cx:pt>
          <cx:pt idx="1710">228.262087733632</cx:pt>
          <cx:pt idx="1711">228.262087733632</cx:pt>
          <cx:pt idx="1712">228.262087733632</cx:pt>
          <cx:pt idx="1713">228.262087733632</cx:pt>
          <cx:pt idx="1714">228.262087733632</cx:pt>
          <cx:pt idx="1715">228.262087733632</cx:pt>
          <cx:pt idx="1716">228.262087733632</cx:pt>
          <cx:pt idx="1717">228.262087733632</cx:pt>
          <cx:pt idx="1718">228.262087733632</cx:pt>
          <cx:pt idx="1719">228.15760021284399</cx:pt>
          <cx:pt idx="1720">228.02374143731572</cx:pt>
          <cx:pt idx="1721">227.89927198662667</cx:pt>
          <cx:pt idx="1722">227.81423709441549</cx:pt>
          <cx:pt idx="1723">227.81423709441549</cx:pt>
          <cx:pt idx="1724">227.81423709441549</cx:pt>
          <cx:pt idx="1725">227.81423709441549</cx:pt>
          <cx:pt idx="1726">227.81423709441549</cx:pt>
          <cx:pt idx="1727">227.81423709441549</cx:pt>
          <cx:pt idx="1728">227.81423709441549</cx:pt>
          <cx:pt idx="1729">227.81423709441549</cx:pt>
          <cx:pt idx="1730">227.81423709441549</cx:pt>
          <cx:pt idx="1731">227.81423709441549</cx:pt>
          <cx:pt idx="1732">227.81423709441549</cx:pt>
          <cx:pt idx="1733">227.81423709441549</cx:pt>
          <cx:pt idx="1734">227.81423709441549</cx:pt>
          <cx:pt idx="1735">227.81423709441549</cx:pt>
          <cx:pt idx="1736">227.81423709441549</cx:pt>
          <cx:pt idx="1737">227.81423709441549</cx:pt>
          <cx:pt idx="1738">227.46281424714834</cx:pt>
          <cx:pt idx="1739">226.77302328532667</cx:pt>
          <cx:pt idx="1740">226.74883350522376</cx:pt>
          <cx:pt idx="1741">226.74883350522376</cx:pt>
          <cx:pt idx="1742">226.44709117367802</cx:pt>
          <cx:pt idx="1743">226.38096106942999</cx:pt>
          <cx:pt idx="1744">226.38096106942999</cx:pt>
          <cx:pt idx="1745">226.37190770703251</cx:pt>
          <cx:pt idx="1746">226.31902583362597</cx:pt>
          <cx:pt idx="1747">226.31902583362597</cx:pt>
          <cx:pt idx="1748">226.07017159546669</cx:pt>
          <cx:pt idx="1749">225.98045424594076</cx:pt>
          <cx:pt idx="1750">225.67763954609498</cx:pt>
          <cx:pt idx="1751">225.22599220295101</cx:pt>
          <cx:pt idx="1752">225.16128897910849</cx:pt>
          <cx:pt idx="1753">225.03051634683868</cx:pt>
          <cx:pt idx="1754">225.03051634683868</cx:pt>
          <cx:pt idx="1755">224.86217702147835</cx:pt>
          <cx:pt idx="1756">224.80555340684799</cx:pt>
          <cx:pt idx="1757">224.718673767675</cx:pt>
          <cx:pt idx="1758">224.718673767675</cx:pt>
          <cx:pt idx="1759">224.718673767675</cx:pt>
          <cx:pt idx="1760">224.718673767675</cx:pt>
          <cx:pt idx="1761">224.42408255790801</cx:pt>
          <cx:pt idx="1762">224.40469505203336</cx:pt>
          <cx:pt idx="1763">223.86623596455601</cx:pt>
          <cx:pt idx="1764">223.86623596455601</cx:pt>
          <cx:pt idx="1765">223.86623596455601</cx:pt>
          <cx:pt idx="1766">223.86623596455601</cx:pt>
          <cx:pt idx="1767">223.86623596455601</cx:pt>
          <cx:pt idx="1768">223.86623596455601</cx:pt>
          <cx:pt idx="1769">223.86623596455601</cx:pt>
          <cx:pt idx="1770">223.86623596455601</cx:pt>
          <cx:pt idx="1771">223.86623596455601</cx:pt>
          <cx:pt idx="1772">223.86623596455601</cx:pt>
          <cx:pt idx="1773">223.86623596455601</cx:pt>
          <cx:pt idx="1774">223.86623596455601</cx:pt>
          <cx:pt idx="1775">223.86623596455601</cx:pt>
          <cx:pt idx="1776">223.86623596455601</cx:pt>
          <cx:pt idx="1777">223.86623596455601</cx:pt>
          <cx:pt idx="1778">223.86623596455601</cx:pt>
          <cx:pt idx="1779">223.86623596455601</cx:pt>
          <cx:pt idx="1780">223.86623596455601</cx:pt>
          <cx:pt idx="1781">223.76365538724701</cx:pt>
          <cx:pt idx="1782">223.76365538724701</cx:pt>
          <cx:pt idx="1783">223.76365538724701</cx:pt>
          <cx:pt idx="1784">223.76365538724701</cx:pt>
          <cx:pt idx="1785">223.76365538724701</cx:pt>
          <cx:pt idx="1786">223.76365538724701</cx:pt>
          <cx:pt idx="1787">223.76365538724701</cx:pt>
          <cx:pt idx="1788">223.76365538724701</cx:pt>
          <cx:pt idx="1789">223.76365538724701</cx:pt>
          <cx:pt idx="1790">223.76365538724701</cx:pt>
          <cx:pt idx="1791">223.76365538724701</cx:pt>
          <cx:pt idx="1792">223.76365538724701</cx:pt>
          <cx:pt idx="1793">223.76365538724701</cx:pt>
          <cx:pt idx="1794">223.76365538724701</cx:pt>
          <cx:pt idx="1795">223.76365538724701</cx:pt>
          <cx:pt idx="1796">223.76365538724701</cx:pt>
          <cx:pt idx="1797">223.76365538724701</cx:pt>
          <cx:pt idx="1798">223.76365538724701</cx:pt>
          <cx:pt idx="1799">223.76365538724701</cx:pt>
          <cx:pt idx="1800">223.76365538724701</cx:pt>
          <cx:pt idx="1801">223.76365538724701</cx:pt>
          <cx:pt idx="1802">223.76365538724701</cx:pt>
          <cx:pt idx="1803">223.76365538724701</cx:pt>
          <cx:pt idx="1804">223.69750041125033</cx:pt>
          <cx:pt idx="1805">223.39574575404299</cx:pt>
          <cx:pt idx="1806">223.07484233046074</cx:pt>
          <cx:pt idx="1807">223.07484233046074</cx:pt>
          <cx:pt idx="1808">223.07484233046074</cx:pt>
          <cx:pt idx="1809">222.943939694574</cx:pt>
          <cx:pt idx="1810">222.81109827976169</cx:pt>
          <cx:pt idx="1811">222.81109827976169</cx:pt>
          <cx:pt idx="1812">222.81109827976169</cx:pt>
          <cx:pt idx="1813">222.81109827976169</cx:pt>
          <cx:pt idx="1814">222.81109827976169</cx:pt>
          <cx:pt idx="1815">222.81109827976169</cx:pt>
          <cx:pt idx="1816">222.81109827976169</cx:pt>
          <cx:pt idx="1817">222.81109827976169</cx:pt>
          <cx:pt idx="1818">222.81109827976169</cx:pt>
          <cx:pt idx="1819">222.81109827976169</cx:pt>
          <cx:pt idx="1820">222.81109827976169</cx:pt>
          <cx:pt idx="1821">222.81109827976169</cx:pt>
          <cx:pt idx="1822">222.81109827976169</cx:pt>
          <cx:pt idx="1823">222.81109827976169</cx:pt>
          <cx:pt idx="1824">222.81109827976169</cx:pt>
          <cx:pt idx="1825">222.81109827976169</cx:pt>
          <cx:pt idx="1826">222.81109827976169</cx:pt>
          <cx:pt idx="1827">222.81109827976169</cx:pt>
          <cx:pt idx="1828">222.81109827976169</cx:pt>
          <cx:pt idx="1829">222.81109827976169</cx:pt>
          <cx:pt idx="1830">222.81109827976169</cx:pt>
          <cx:pt idx="1831">222.81109827976169</cx:pt>
          <cx:pt idx="1832">222.81109827976169</cx:pt>
          <cx:pt idx="1833">222.81109827976169</cx:pt>
          <cx:pt idx="1834">222.73086656178725</cx:pt>
          <cx:pt idx="1835">222.73086656178725</cx:pt>
          <cx:pt idx="1836">222.59015036259166</cx:pt>
          <cx:pt idx="1837">222.39779449085998</cx:pt>
          <cx:pt idx="1838">222.21543697488335</cx:pt>
          <cx:pt idx="1839">222.00212577995001</cx:pt>
          <cx:pt idx="1840">221.89512750965716</cx:pt>
          <cx:pt idx="1841">221.89512750965716</cx:pt>
          <cx:pt idx="1842">221.7166388002785</cx:pt>
          <cx:pt idx="1843">221.7166388002785</cx:pt>
          <cx:pt idx="1844">221.47880226739565</cx:pt>
          <cx:pt idx="1845">221.28314910760599</cx:pt>
          <cx:pt idx="1846">221.28314910760599</cx:pt>
          <cx:pt idx="1847">221.15741470216335</cx:pt>
          <cx:pt idx="1848">221.041369600472</cx:pt>
          <cx:pt idx="1849">221.041369600472</cx:pt>
          <cx:pt idx="1850">221.041369600472</cx:pt>
          <cx:pt idx="1851">221.00337753868197</cx:pt>
          <cx:pt idx="1852">220.89033985513674</cx:pt>
          <cx:pt idx="1853">220.89033985513674</cx:pt>
          <cx:pt idx="1854">220.88778123336667</cx:pt>
          <cx:pt idx="1855">220.88778123336667</cx:pt>
          <cx:pt idx="1856">220.88778123336667</cx:pt>
          <cx:pt idx="1857">220.88778123336667</cx:pt>
          <cx:pt idx="1858">220.88778123336667</cx:pt>
          <cx:pt idx="1859">220.82174197687601</cx:pt>
          <cx:pt idx="1860">220.51641189165198</cx:pt>
          <cx:pt idx="1861">220.46928522558099</cx:pt>
          <cx:pt idx="1862">220.46928522558099</cx:pt>
          <cx:pt idx="1863">220.46928522558099</cx:pt>
          <cx:pt idx="1864">220.46928522558099</cx:pt>
          <cx:pt idx="1865">220.46928522558099</cx:pt>
          <cx:pt idx="1866">220.46928522558099</cx:pt>
          <cx:pt idx="1867">220.46928522558099</cx:pt>
          <cx:pt idx="1868">220.46928522558099</cx:pt>
          <cx:pt idx="1869">220.46928522558099</cx:pt>
          <cx:pt idx="1870">220.46928522558099</cx:pt>
          <cx:pt idx="1871">220.46928522558099</cx:pt>
          <cx:pt idx="1872">220.46928522558099</cx:pt>
          <cx:pt idx="1873">220.46928522558099</cx:pt>
          <cx:pt idx="1874">220.46928522558099</cx:pt>
          <cx:pt idx="1875">220.46928522558099</cx:pt>
          <cx:pt idx="1876">220.46928522558099</cx:pt>
          <cx:pt idx="1877">220.46928522558099</cx:pt>
          <cx:pt idx="1878">220.46928522558099</cx:pt>
          <cx:pt idx="1879">220.17665340986429</cx:pt>
          <cx:pt idx="1880">219.48539430974202</cx:pt>
          <cx:pt idx="1881">219.48539430974202</cx:pt>
          <cx:pt idx="1882">219.48539430974202</cx:pt>
          <cx:pt idx="1883">219.46278680661331</cx:pt>
          <cx:pt idx="1884">219.24072892260202</cx:pt>
          <cx:pt idx="1885">219.12538870383599</cx:pt>
          <cx:pt idx="1886">219.12538870383599</cx:pt>
          <cx:pt idx="1887">219.12538870383599</cx:pt>
          <cx:pt idx="1888">219.12538870383599</cx:pt>
          <cx:pt idx="1889">219.12538870383599</cx:pt>
          <cx:pt idx="1890">219.04446158983899</cx:pt>
          <cx:pt idx="1891">219.04446158983899</cx:pt>
          <cx:pt idx="1892">219.04446158983899</cx:pt>
          <cx:pt idx="1893">218.95172611979169</cx:pt>
          <cx:pt idx="1894">218.640070556929</cx:pt>
          <cx:pt idx="1895">218.29117617445624</cx:pt>
          <cx:pt idx="1896">218.29117617445624</cx:pt>
          <cx:pt idx="1897">218.29117617445624</cx:pt>
          <cx:pt idx="1898">218.03394448316399</cx:pt>
          <cx:pt idx="1899">218.002779370816</cx:pt>
          <cx:pt idx="1900">218.002779370816</cx:pt>
          <cx:pt idx="1901">217.95614537835601</cx:pt>
          <cx:pt idx="1902">217.95614537835601</cx:pt>
          <cx:pt idx="1903">217.95614537835601</cx:pt>
          <cx:pt idx="1904">217.95614537835601</cx:pt>
          <cx:pt idx="1905">217.95614537835601</cx:pt>
          <cx:pt idx="1906">217.95614537835601</cx:pt>
          <cx:pt idx="1907">217.95614537835601</cx:pt>
          <cx:pt idx="1908">217.95614537835601</cx:pt>
          <cx:pt idx="1909">217.95614537835601</cx:pt>
          <cx:pt idx="1910">217.95614537835601</cx:pt>
          <cx:pt idx="1911">217.95614537835601</cx:pt>
          <cx:pt idx="1912">217.95614537835601</cx:pt>
          <cx:pt idx="1913">217.95614537835601</cx:pt>
          <cx:pt idx="1914">217.95614537835601</cx:pt>
          <cx:pt idx="1915">217.95614537835601</cx:pt>
          <cx:pt idx="1916">217.95614537835601</cx:pt>
          <cx:pt idx="1917">217.95614537835601</cx:pt>
          <cx:pt idx="1918">217.95614537835601</cx:pt>
          <cx:pt idx="1919">217.471277588286</cx:pt>
          <cx:pt idx="1920">217.37447316863799</cx:pt>
          <cx:pt idx="1921">217.30425847000132</cx:pt>
          <cx:pt idx="1922">216.86778254016201</cx:pt>
          <cx:pt idx="1923">216.77420563359857</cx:pt>
          <cx:pt idx="1924">216.556340636926</cx:pt>
          <cx:pt idx="1925">216.556340636926</cx:pt>
          <cx:pt idx="1926">216.545630650052</cx:pt>
          <cx:pt idx="1927">216.22627496425397</cx:pt>
          <cx:pt idx="1928">216.22627496425397</cx:pt>
          <cx:pt idx="1929">216.22627496425397</cx:pt>
          <cx:pt idx="1930">216.22627496425397</cx:pt>
          <cx:pt idx="1931">216.01661907273501</cx:pt>
          <cx:pt idx="1932">215.82723653572003</cx:pt>
          <cx:pt idx="1933">215.53485823633699</cx:pt>
          <cx:pt idx="1934">215.39370877413549</cx:pt>
          <cx:pt idx="1935">215.03422124112168</cx:pt>
          <cx:pt idx="1936">215.03422124112168</cx:pt>
          <cx:pt idx="1937">214.63343798208999</cx:pt>
          <cx:pt idx="1938">214.63343798208999</cx:pt>
          <cx:pt idx="1939">214.63343798208999</cx:pt>
          <cx:pt idx="1940">214.63343798208999</cx:pt>
          <cx:pt idx="1941">214.63343798208999</cx:pt>
          <cx:pt idx="1942">214.63343798208999</cx:pt>
          <cx:pt idx="1943">214.63343798208999</cx:pt>
          <cx:pt idx="1944">214.63343798208999</cx:pt>
          <cx:pt idx="1945">214.63343798208999</cx:pt>
          <cx:pt idx="1946">214.63343798208999</cx:pt>
          <cx:pt idx="1947">214.63343798208999</cx:pt>
          <cx:pt idx="1948">214.63343798208999</cx:pt>
          <cx:pt idx="1949">214.63343798208999</cx:pt>
          <cx:pt idx="1950">214.63343798208999</cx:pt>
          <cx:pt idx="1951">214.63343798208999</cx:pt>
          <cx:pt idx="1952">214.63343798208999</cx:pt>
          <cx:pt idx="1953">214.63343798208999</cx:pt>
          <cx:pt idx="1954">214.63343798208999</cx:pt>
          <cx:pt idx="1955">214.63343798208999</cx:pt>
          <cx:pt idx="1956">214.63343798208999</cx:pt>
          <cx:pt idx="1957">214.63343798208999</cx:pt>
          <cx:pt idx="1958">214.63343798208999</cx:pt>
          <cx:pt idx="1959">214.63343798208999</cx:pt>
          <cx:pt idx="1960">214.60408638274066</cx:pt>
          <cx:pt idx="1961">214.50863645581626</cx:pt>
          <cx:pt idx="1962">214.47155244448868</cx:pt>
          <cx:pt idx="1963">214.38599743300367</cx:pt>
          <cx:pt idx="1964">214.38599743300367</cx:pt>
          <cx:pt idx="1965">214.17682386594868</cx:pt>
          <cx:pt idx="1966">214.17682386594868</cx:pt>
          <cx:pt idx="1967">214.17682386594868</cx:pt>
          <cx:pt idx="1968">214.17682386594868</cx:pt>
          <cx:pt idx="1969">214.17682386594868</cx:pt>
          <cx:pt idx="1970">214.17682386594868</cx:pt>
          <cx:pt idx="1971">214.17682386594868</cx:pt>
          <cx:pt idx="1972">214.17682386594868</cx:pt>
          <cx:pt idx="1973">214.17682386594868</cx:pt>
          <cx:pt idx="1974">214.03264415764602</cx:pt>
          <cx:pt idx="1975">213.85604865243067</cx:pt>
          <cx:pt idx="1976">213.85604865243067</cx:pt>
          <cx:pt idx="1977">213.85604865243067</cx:pt>
          <cx:pt idx="1978">213.27512081611724</cx:pt>
          <cx:pt idx="1979">213.117607824814</cx:pt>
          <cx:pt idx="1980">213.117607824814</cx:pt>
          <cx:pt idx="1981">213.117607824814</cx:pt>
          <cx:pt idx="1982">213.117607824814</cx:pt>
          <cx:pt idx="1983">213.117607824814</cx:pt>
          <cx:pt idx="1984">213.117607824814</cx:pt>
          <cx:pt idx="1985">213.117607824814</cx:pt>
          <cx:pt idx="1986">213.117607824814</cx:pt>
          <cx:pt idx="1987">213.117607824814</cx:pt>
          <cx:pt idx="1988">213.117607824814</cx:pt>
          <cx:pt idx="1989">213.117607824814</cx:pt>
          <cx:pt idx="1990">213.117607824814</cx:pt>
          <cx:pt idx="1991">213.117607824814</cx:pt>
          <cx:pt idx="1992">213.117607824814</cx:pt>
          <cx:pt idx="1993">213.117607824814</cx:pt>
          <cx:pt idx="1994">213.117607824814</cx:pt>
          <cx:pt idx="1995">213.117607824814</cx:pt>
          <cx:pt idx="1996">213.117607824814</cx:pt>
          <cx:pt idx="1997">213.117607824814</cx:pt>
          <cx:pt idx="1998">213.117607824814</cx:pt>
          <cx:pt idx="1999">213.117607824814</cx:pt>
          <cx:pt idx="2000">213.10284694813325</cx:pt>
          <cx:pt idx="2001">213.10284694813325</cx:pt>
          <cx:pt idx="2002">213.10284694813325</cx:pt>
          <cx:pt idx="2003">213.10284694813325</cx:pt>
          <cx:pt idx="2004">213.10284694813325</cx:pt>
          <cx:pt idx="2005">213.10284694813325</cx:pt>
          <cx:pt idx="2006">213.10284694813325</cx:pt>
          <cx:pt idx="2007">212.96947010706549</cx:pt>
          <cx:pt idx="2008">212.947023523496</cx:pt>
          <cx:pt idx="2009">212.90875087255401</cx:pt>
          <cx:pt idx="2010">212.72301268558269</cx:pt>
          <cx:pt idx="2011">212.72301268558269</cx:pt>
          <cx:pt idx="2012">211.83303212527335</cx:pt>
          <cx:pt idx="2013">211.83303212527335</cx:pt>
          <cx:pt idx="2014">211.73910845255</cx:pt>
          <cx:pt idx="2015">211.73910845255</cx:pt>
          <cx:pt idx="2016">211.73910845255</cx:pt>
          <cx:pt idx="2017">211.73910845255</cx:pt>
          <cx:pt idx="2018">211.71496410182499</cx:pt>
          <cx:pt idx="2019">211.6913790147089</cx:pt>
          <cx:pt idx="2020">211.51515819062669</cx:pt>
          <cx:pt idx="2021">211.51515819062669</cx:pt>
          <cx:pt idx="2022">211.442450387642</cx:pt>
          <cx:pt idx="2023">211.442450387642</cx:pt>
          <cx:pt idx="2024">211.442450387642</cx:pt>
          <cx:pt idx="2025">211.442450387642</cx:pt>
          <cx:pt idx="2026">211.442450387642</cx:pt>
          <cx:pt idx="2027">211.442450387642</cx:pt>
          <cx:pt idx="2028">211.442450387642</cx:pt>
          <cx:pt idx="2029">211.442450387642</cx:pt>
          <cx:pt idx="2030">211.43089550268351</cx:pt>
          <cx:pt idx="2031">211.43089550268351</cx:pt>
          <cx:pt idx="2032">211.43089550268351</cx:pt>
          <cx:pt idx="2033">211.43089550268351</cx:pt>
          <cx:pt idx="2034">211.43089550268351</cx:pt>
          <cx:pt idx="2035">211.43089550268351</cx:pt>
          <cx:pt idx="2036">211.43089550268351</cx:pt>
          <cx:pt idx="2037">211.43089550268351</cx:pt>
          <cx:pt idx="2038">211.43089550268351</cx:pt>
          <cx:pt idx="2039">211.43089550268351</cx:pt>
          <cx:pt idx="2040">211.43089550268351</cx:pt>
          <cx:pt idx="2041">211.43089550268351</cx:pt>
          <cx:pt idx="2042">211.43089550268351</cx:pt>
          <cx:pt idx="2043">211.43089550268351</cx:pt>
          <cx:pt idx="2044">211.43089550268351</cx:pt>
          <cx:pt idx="2045">211.43089550268351</cx:pt>
          <cx:pt idx="2046">211.43089550268351</cx:pt>
          <cx:pt idx="2047">211.43089550268351</cx:pt>
          <cx:pt idx="2048">211.43089550268351</cx:pt>
          <cx:pt idx="2049">211.43089550268351</cx:pt>
          <cx:pt idx="2050">211.31772023763867</cx:pt>
          <cx:pt idx="2051">211.31772023763867</cx:pt>
          <cx:pt idx="2052">211.31772023763867</cx:pt>
          <cx:pt idx="2053">211.31772023763867</cx:pt>
          <cx:pt idx="2054">211.31772023763867</cx:pt>
          <cx:pt idx="2055">211.31772023763867</cx:pt>
          <cx:pt idx="2056">211.31772023763867</cx:pt>
          <cx:pt idx="2057">211.19986162642167</cx:pt>
          <cx:pt idx="2058">211.18189681243899</cx:pt>
          <cx:pt idx="2059">211.18189681243899</cx:pt>
          <cx:pt idx="2060">211.18189681243899</cx:pt>
          <cx:pt idx="2061">211.18189681243899</cx:pt>
          <cx:pt idx="2062">211.18189681243899</cx:pt>
          <cx:pt idx="2063">211.18189681243899</cx:pt>
          <cx:pt idx="2064">211.18189681243899</cx:pt>
          <cx:pt idx="2065">211.18189681243899</cx:pt>
          <cx:pt idx="2066">211.18189681243899</cx:pt>
          <cx:pt idx="2067">211.18189681243899</cx:pt>
          <cx:pt idx="2068">210.62176895099151</cx:pt>
          <cx:pt idx="2069">210.62176895099151</cx:pt>
          <cx:pt idx="2070">210.62176895099151</cx:pt>
          <cx:pt idx="2071">210.62176895099151</cx:pt>
          <cx:pt idx="2072">210.62176895099151</cx:pt>
          <cx:pt idx="2073">210.62176895099151</cx:pt>
          <cx:pt idx="2074">210.62176895099151</cx:pt>
          <cx:pt idx="2075">210.62176895099151</cx:pt>
          <cx:pt idx="2076">210.62176895099151</cx:pt>
          <cx:pt idx="2077">210.62176895099151</cx:pt>
          <cx:pt idx="2078">210.62176895099151</cx:pt>
          <cx:pt idx="2079">210.62176895099151</cx:pt>
          <cx:pt idx="2080">210.62176895099151</cx:pt>
          <cx:pt idx="2081">210.62176895099151</cx:pt>
          <cx:pt idx="2082">210.62176895099151</cx:pt>
          <cx:pt idx="2083">210.62176895099151</cx:pt>
          <cx:pt idx="2084">210.62176895099151</cx:pt>
          <cx:pt idx="2085">210.62176895099151</cx:pt>
          <cx:pt idx="2086">210.62176895099151</cx:pt>
          <cx:pt idx="2087">210.55421971424201</cx:pt>
          <cx:pt idx="2088">210.55421971424201</cx:pt>
          <cx:pt idx="2089">210.55421971424201</cx:pt>
          <cx:pt idx="2090">210.55421971424201</cx:pt>
          <cx:pt idx="2091">210.55421971424201</cx:pt>
          <cx:pt idx="2092">210.55421971424201</cx:pt>
          <cx:pt idx="2093">210.55421971424201</cx:pt>
          <cx:pt idx="2094">210.55421971424201</cx:pt>
          <cx:pt idx="2095">210.55421971424201</cx:pt>
          <cx:pt idx="2096">210.55421971424201</cx:pt>
          <cx:pt idx="2097">210.55421971424201</cx:pt>
          <cx:pt idx="2098">210.55421971424201</cx:pt>
          <cx:pt idx="2099">210.28618024513858</cx:pt>
          <cx:pt idx="2100">210.024293629987</cx:pt>
          <cx:pt idx="2101">210.024293629987</cx:pt>
          <cx:pt idx="2102">210.024293629987</cx:pt>
          <cx:pt idx="2103">210.024293629987</cx:pt>
          <cx:pt idx="2104">210.024293629987</cx:pt>
          <cx:pt idx="2105">210.024293629987</cx:pt>
          <cx:pt idx="2106">210.024293629987</cx:pt>
          <cx:pt idx="2107">210.024293629987</cx:pt>
          <cx:pt idx="2108">210.024293629987</cx:pt>
          <cx:pt idx="2109">210.024293629987</cx:pt>
          <cx:pt idx="2110">210.024293629987</cx:pt>
          <cx:pt idx="2111">210.024293629987</cx:pt>
          <cx:pt idx="2112">210.024293629987</cx:pt>
          <cx:pt idx="2113">210.024293629987</cx:pt>
          <cx:pt idx="2114">210.024293629987</cx:pt>
          <cx:pt idx="2115">210.01134636511</cx:pt>
          <cx:pt idx="2116">209.96855376358076</cx:pt>
          <cx:pt idx="2117">209.82032974571032</cx:pt>
          <cx:pt idx="2118">209.65117028825875</cx:pt>
          <cx:pt idx="2119">209.59991028103201</cx:pt>
          <cx:pt idx="2120">209.59338344049402</cx:pt>
          <cx:pt idx="2121">209.59338344049402</cx:pt>
          <cx:pt idx="2122">209.59338344049402</cx:pt>
          <cx:pt idx="2123">209.41235426714402</cx:pt>
          <cx:pt idx="2124">209.21538101137</cx:pt>
          <cx:pt idx="2125">209.19350845604751</cx:pt>
          <cx:pt idx="2126">208.97592587854197</cx:pt>
          <cx:pt idx="2127">208.97592587854197</cx:pt>
          <cx:pt idx="2128">208.97592587854197</cx:pt>
          <cx:pt idx="2129">208.97592587854197</cx:pt>
          <cx:pt idx="2130">208.97592587854197</cx:pt>
          <cx:pt idx="2131">208.97592587854197</cx:pt>
          <cx:pt idx="2132">208.97592587854197</cx:pt>
          <cx:pt idx="2133">208.97592587854197</cx:pt>
          <cx:pt idx="2134">208.97592587854197</cx:pt>
          <cx:pt idx="2135">208.97592587854197</cx:pt>
          <cx:pt idx="2136">208.97592587854197</cx:pt>
          <cx:pt idx="2137">208.97592587854197</cx:pt>
          <cx:pt idx="2138">208.93477309118933</cx:pt>
          <cx:pt idx="2139">208.93477309118933</cx:pt>
          <cx:pt idx="2140">208.63906122502675</cx:pt>
          <cx:pt idx="2141">208.52390783003824</cx:pt>
          <cx:pt idx="2142">208.52390783003824</cx:pt>
          <cx:pt idx="2143">208.32057173170801</cx:pt>
          <cx:pt idx="2144">207.84364409779934</cx:pt>
          <cx:pt idx="2145">207.772761225122</cx:pt>
          <cx:pt idx="2146">207.71708916709284</cx:pt>
          <cx:pt idx="2147">207.669457181903</cx:pt>
          <cx:pt idx="2148">207.653273388548</cx:pt>
          <cx:pt idx="2149">207.46442230791598</cx:pt>
          <cx:pt idx="2150">207.46442230791598</cx:pt>
          <cx:pt idx="2151">207.41918196315865</cx:pt>
          <cx:pt idx="2152">207.41918196315865</cx:pt>
          <cx:pt idx="2153">207.09655374161974</cx:pt>
          <cx:pt idx="2154">207.09655374161974</cx:pt>
          <cx:pt idx="2155">207.08791632223469</cx:pt>
          <cx:pt idx="2156">207.08791632223469</cx:pt>
          <cx:pt idx="2157">207.05394544526499</cx:pt>
          <cx:pt idx="2158">207.05394544526499</cx:pt>
          <cx:pt idx="2159">207.05394544526499</cx:pt>
          <cx:pt idx="2160">206.99686765574603</cx:pt>
          <cx:pt idx="2161">206.95704798681501</cx:pt>
          <cx:pt idx="2162">206.95704798681501</cx:pt>
          <cx:pt idx="2163">206.95704798681501</cx:pt>
          <cx:pt idx="2164">206.95704798681501</cx:pt>
          <cx:pt idx="2165">206.95704798681501</cx:pt>
          <cx:pt idx="2166">206.95704798681501</cx:pt>
          <cx:pt idx="2167">206.95704798681501</cx:pt>
          <cx:pt idx="2168">206.95704798681501</cx:pt>
          <cx:pt idx="2169">206.95704798681501</cx:pt>
          <cx:pt idx="2170">206.95704798681501</cx:pt>
          <cx:pt idx="2171">206.95704798681501</cx:pt>
          <cx:pt idx="2172">206.95704798681501</cx:pt>
          <cx:pt idx="2173">206.95704798681501</cx:pt>
          <cx:pt idx="2174">206.95704798681501</cx:pt>
          <cx:pt idx="2175">206.95704798681501</cx:pt>
          <cx:pt idx="2176">206.95704798681501</cx:pt>
          <cx:pt idx="2177">206.95704798681501</cx:pt>
          <cx:pt idx="2178">206.95704798681501</cx:pt>
          <cx:pt idx="2179">206.95704798681501</cx:pt>
          <cx:pt idx="2180">206.95704798681501</cx:pt>
          <cx:pt idx="2181">206.95704798681501</cx:pt>
          <cx:pt idx="2182">206.95704798681501</cx:pt>
          <cx:pt idx="2183">206.93039210328203</cx:pt>
          <cx:pt idx="2184">206.93039210328203</cx:pt>
          <cx:pt idx="2185">206.93039210328203</cx:pt>
          <cx:pt idx="2186">206.93039210328203</cx:pt>
          <cx:pt idx="2187">206.909266128762</cx:pt>
          <cx:pt idx="2188">206.909266128762</cx:pt>
          <cx:pt idx="2189">206.909266128762</cx:pt>
          <cx:pt idx="2190">206.909266128762</cx:pt>
          <cx:pt idx="2191">206.909266128762</cx:pt>
          <cx:pt idx="2192">206.909266128762</cx:pt>
          <cx:pt idx="2193">206.909266128762</cx:pt>
          <cx:pt idx="2194">206.909266128762</cx:pt>
          <cx:pt idx="2195">206.909266128762</cx:pt>
          <cx:pt idx="2196">206.909266128762</cx:pt>
          <cx:pt idx="2197">206.909266128762</cx:pt>
          <cx:pt idx="2198">206.909266128762</cx:pt>
          <cx:pt idx="2199">206.909266128762</cx:pt>
          <cx:pt idx="2200">206.71462662268576</cx:pt>
          <cx:pt idx="2201">206.67958836945428</cx:pt>
          <cx:pt idx="2202">206.50940346922667</cx:pt>
          <cx:pt idx="2203">206.50940346922667</cx:pt>
          <cx:pt idx="2204">206.50940346922667</cx:pt>
          <cx:pt idx="2205">206.50940346922667</cx:pt>
          <cx:pt idx="2206">206.49691748459799</cx:pt>
          <cx:pt idx="2207">206.31521507818832</cx:pt>
          <cx:pt idx="2208">206.31521507818832</cx:pt>
          <cx:pt idx="2209">206.31521507818832</cx:pt>
          <cx:pt idx="2210">206.23873885488467</cx:pt>
          <cx:pt idx="2211">206.10887364392676</cx:pt>
          <cx:pt idx="2212">206.10887364392676</cx:pt>
          <cx:pt idx="2213">206.10887364392676</cx:pt>
          <cx:pt idx="2214">206.10887364392676</cx:pt>
          <cx:pt idx="2215">206.10887364392676</cx:pt>
          <cx:pt idx="2216">206.10887364392676</cx:pt>
          <cx:pt idx="2217">206.10887364392676</cx:pt>
          <cx:pt idx="2218">206.10887364392676</cx:pt>
          <cx:pt idx="2219">206.04638090899198</cx:pt>
          <cx:pt idx="2220">205.92183020575499</cx:pt>
          <cx:pt idx="2221">205.80500839879667</cx:pt>
          <cx:pt idx="2222">205.4581776170325</cx:pt>
          <cx:pt idx="2223">205.28385834329166</cx:pt>
          <cx:pt idx="2224">205.28385834329166</cx:pt>
          <cx:pt idx="2225">205.28385834329166</cx:pt>
          <cx:pt idx="2226">205.22599445903126</cx:pt>
          <cx:pt idx="2227">205.22599445903126</cx:pt>
          <cx:pt idx="2228">205.22599445903126</cx:pt>
          <cx:pt idx="2229">205.22599445903126</cx:pt>
          <cx:pt idx="2230">205.22599445903126</cx:pt>
          <cx:pt idx="2231">205.22599445903126</cx:pt>
          <cx:pt idx="2232">205.10263091442835</cx:pt>
          <cx:pt idx="2233">205.10263091442835</cx:pt>
          <cx:pt idx="2234">204.97977229755836</cx:pt>
          <cx:pt idx="2235">204.97522709189164</cx:pt>
          <cx:pt idx="2236">204.97522709189164</cx:pt>
          <cx:pt idx="2237">204.80596522400802</cx:pt>
          <cx:pt idx="2238">204.63252299432099</cx:pt>
          <cx:pt idx="2239">204.63252299432099</cx:pt>
          <cx:pt idx="2240">204.58015061181666</cx:pt>
          <cx:pt idx="2241">204.33180352966974</cx:pt>
          <cx:pt idx="2242">204.33180352966974</cx:pt>
          <cx:pt idx="2243">204.33180352966974</cx:pt>
          <cx:pt idx="2244">204.33180352966974</cx:pt>
          <cx:pt idx="2245">204.33180352966974</cx:pt>
          <cx:pt idx="2246">204.29589843677201</cx:pt>
          <cx:pt idx="2247">204.29589843677201</cx:pt>
          <cx:pt idx="2248">204.29589843677201</cx:pt>
          <cx:pt idx="2249">204.29589843677201</cx:pt>
          <cx:pt idx="2250">204.29589843677201</cx:pt>
          <cx:pt idx="2251">204.10837911185399</cx:pt>
          <cx:pt idx="2252">204.10837911185399</cx:pt>
          <cx:pt idx="2253">204.01246564539667</cx:pt>
          <cx:pt idx="2254">202.86042928595199</cx:pt>
          <cx:pt idx="2255">202.86042928595199</cx:pt>
          <cx:pt idx="2256">202.86042928595199</cx:pt>
          <cx:pt idx="2257">202.86042928595199</cx:pt>
          <cx:pt idx="2258">202.86042928595199</cx:pt>
          <cx:pt idx="2259">202.86042928595199</cx:pt>
          <cx:pt idx="2260">202.86042928595199</cx:pt>
          <cx:pt idx="2261">202.86042928595199</cx:pt>
          <cx:pt idx="2262">202.86042928595199</cx:pt>
          <cx:pt idx="2263">202.86042928595199</cx:pt>
          <cx:pt idx="2264">202.86042928595199</cx:pt>
          <cx:pt idx="2265">202.86042928595199</cx:pt>
          <cx:pt idx="2266">202.86042928595199</cx:pt>
          <cx:pt idx="2267">202.86042928595199</cx:pt>
          <cx:pt idx="2268">202.86042928595199</cx:pt>
          <cx:pt idx="2269">202.86042928595199</cx:pt>
          <cx:pt idx="2270">202.86042928595199</cx:pt>
          <cx:pt idx="2271">202.86042928595199</cx:pt>
          <cx:pt idx="2272">202.86042928595199</cx:pt>
          <cx:pt idx="2273">202.71827102158167</cx:pt>
          <cx:pt idx="2274">202.6985529081735</cx:pt>
          <cx:pt idx="2275">202.684718511863</cx:pt>
          <cx:pt idx="2276">202.60218693851468</cx:pt>
          <cx:pt idx="2277">202.38371533529849</cx:pt>
          <cx:pt idx="2278">202.31201461544714</cx:pt>
          <cx:pt idx="2279">202.28789628652376</cx:pt>
          <cx:pt idx="2280">202.21374389184425</cx:pt>
          <cx:pt idx="2281">202.19711565191</cx:pt>
          <cx:pt idx="2282">202.19711565191</cx:pt>
          <cx:pt idx="2283">202.19711565191</cx:pt>
          <cx:pt idx="2284">202.19711565191</cx:pt>
          <cx:pt idx="2285">202.19711565191</cx:pt>
          <cx:pt idx="2286">202.19711565191</cx:pt>
          <cx:pt idx="2287">202.19711565191</cx:pt>
          <cx:pt idx="2288">202.19711565191</cx:pt>
          <cx:pt idx="2289">202.19711565191</cx:pt>
          <cx:pt idx="2290">202.19711565191</cx:pt>
          <cx:pt idx="2291">202.19711565191</cx:pt>
          <cx:pt idx="2292">202.19711565191</cx:pt>
          <cx:pt idx="2293">202.19711565191</cx:pt>
          <cx:pt idx="2294">202.19711565191</cx:pt>
          <cx:pt idx="2295">202.19711565191</cx:pt>
          <cx:pt idx="2296">202.19711565191</cx:pt>
          <cx:pt idx="2297">202.19711565191</cx:pt>
          <cx:pt idx="2298">202.19711565191</cx:pt>
          <cx:pt idx="2299">202.19711565191</cx:pt>
          <cx:pt idx="2300">202.19711565191</cx:pt>
          <cx:pt idx="2301">202.19711565191</cx:pt>
          <cx:pt idx="2302">202.19711565191</cx:pt>
          <cx:pt idx="2303">202.19711565191</cx:pt>
          <cx:pt idx="2304">202.19711565191</cx:pt>
          <cx:pt idx="2305">202.19711565191</cx:pt>
          <cx:pt idx="2306">202.19711565191</cx:pt>
          <cx:pt idx="2307">202.19711565191</cx:pt>
          <cx:pt idx="2308">202.19711565191</cx:pt>
          <cx:pt idx="2309">202.19711565191</cx:pt>
          <cx:pt idx="2310">202.19711565191</cx:pt>
          <cx:pt idx="2311">202.19711565191</cx:pt>
          <cx:pt idx="2312">202.19711565191</cx:pt>
          <cx:pt idx="2313">202.19711565191</cx:pt>
          <cx:pt idx="2314">202.19711565191</cx:pt>
          <cx:pt idx="2315">202.19711565191</cx:pt>
          <cx:pt idx="2316">202.19711565191</cx:pt>
          <cx:pt idx="2317">201.81783309216431</cx:pt>
          <cx:pt idx="2318">201.81783309216431</cx:pt>
          <cx:pt idx="2319">201.81783309216431</cx:pt>
          <cx:pt idx="2320">201.81783309216431</cx:pt>
          <cx:pt idx="2321">201.81783309216431</cx:pt>
          <cx:pt idx="2322">201.169674552098</cx:pt>
          <cx:pt idx="2323">201.169674552098</cx:pt>
          <cx:pt idx="2324">201.169674552098</cx:pt>
          <cx:pt idx="2325">201.169674552098</cx:pt>
          <cx:pt idx="2326">201.169674552098</cx:pt>
          <cx:pt idx="2327">201.16848870736067</cx:pt>
          <cx:pt idx="2328">201.07147346903301</cx:pt>
          <cx:pt idx="2329">201.01604508739169</cx:pt>
          <cx:pt idx="2330">200.72840998132799</cx:pt>
          <cx:pt idx="2331">200.50759875600775</cx:pt>
          <cx:pt idx="2332">200.50759875600775</cx:pt>
          <cx:pt idx="2333">200.50759875600775</cx:pt>
          <cx:pt idx="2334">200.50759875600775</cx:pt>
          <cx:pt idx="2335">200.50759875600775</cx:pt>
          <cx:pt idx="2336">200.40447236629399</cx:pt>
          <cx:pt idx="2337">200.40447236629399</cx:pt>
          <cx:pt idx="2338">200.40447236629399</cx:pt>
          <cx:pt idx="2339">200.334231206022</cx:pt>
          <cx:pt idx="2340">200.334231206022</cx:pt>
          <cx:pt idx="2341">200.334231206022</cx:pt>
          <cx:pt idx="2342">200.122604703072</cx:pt>
          <cx:pt idx="2343">200.122604703072</cx:pt>
          <cx:pt idx="2344">200.122604703072</cx:pt>
          <cx:pt idx="2345">200.122604703072</cx:pt>
          <cx:pt idx="2346">200.122604703072</cx:pt>
          <cx:pt idx="2347">200.122604703072</cx:pt>
          <cx:pt idx="2348">200.122604703072</cx:pt>
          <cx:pt idx="2349">200.122604703072</cx:pt>
          <cx:pt idx="2350">200.122604703072</cx:pt>
          <cx:pt idx="2351">200.122604703072</cx:pt>
          <cx:pt idx="2352">200.122604703072</cx:pt>
          <cx:pt idx="2353">200.122604703072</cx:pt>
          <cx:pt idx="2354">200.122604703072</cx:pt>
          <cx:pt idx="2355">200.122604703072</cx:pt>
          <cx:pt idx="2356">200.122604703072</cx:pt>
          <cx:pt idx="2357">200.122604703072</cx:pt>
          <cx:pt idx="2358">200.122604703072</cx:pt>
          <cx:pt idx="2359">200.122604703072</cx:pt>
          <cx:pt idx="2360">200.122604703072</cx:pt>
          <cx:pt idx="2361">200.122604703072</cx:pt>
          <cx:pt idx="2362">200.122604703072</cx:pt>
          <cx:pt idx="2363">200.122604703072</cx:pt>
          <cx:pt idx="2364">199.95494249029159</cx:pt>
          <cx:pt idx="2365">199.88509527943964</cx:pt>
          <cx:pt idx="2366">199.88509527943964</cx:pt>
          <cx:pt idx="2367">199.88509527943964</cx:pt>
          <cx:pt idx="2368">199.88509527943964</cx:pt>
          <cx:pt idx="2369">199.88509527943964</cx:pt>
          <cx:pt idx="2370">199.88509527943964</cx:pt>
          <cx:pt idx="2371">199.88509527943964</cx:pt>
          <cx:pt idx="2372">199.88509527943964</cx:pt>
          <cx:pt idx="2373">199.88509527943964</cx:pt>
          <cx:pt idx="2374">199.88509527943964</cx:pt>
          <cx:pt idx="2375">199.88509527943964</cx:pt>
          <cx:pt idx="2376">199.88509527943964</cx:pt>
          <cx:pt idx="2377">199.88509527943964</cx:pt>
          <cx:pt idx="2378">199.88509527943964</cx:pt>
          <cx:pt idx="2379">199.88509527943964</cx:pt>
          <cx:pt idx="2380">199.88509527943964</cx:pt>
          <cx:pt idx="2381">199.88509527943964</cx:pt>
          <cx:pt idx="2382">199.88509527943964</cx:pt>
          <cx:pt idx="2383">199.88509527943964</cx:pt>
          <cx:pt idx="2384">199.88509527943964</cx:pt>
          <cx:pt idx="2385">199.88509527943964</cx:pt>
          <cx:pt idx="2386">199.88509527943964</cx:pt>
          <cx:pt idx="2387">199.88509527943964</cx:pt>
          <cx:pt idx="2388">199.88509527943964</cx:pt>
          <cx:pt idx="2389">199.73911414986</cx:pt>
          <cx:pt idx="2390">199.579521043357</cx:pt>
          <cx:pt idx="2391">199.4792895558015</cx:pt>
          <cx:pt idx="2392">199.41644377962999</cx:pt>
          <cx:pt idx="2393">199.34305914917351</cx:pt>
          <cx:pt idx="2394">199.34305914917351</cx:pt>
          <cx:pt idx="2395">199.134813464925</cx:pt>
          <cx:pt idx="2396">199.134813464925</cx:pt>
          <cx:pt idx="2397">199.134813464925</cx:pt>
          <cx:pt idx="2398">199.134813464925</cx:pt>
          <cx:pt idx="2399">199.134813464925</cx:pt>
          <cx:pt idx="2400">199.134813464925</cx:pt>
          <cx:pt idx="2401">199.134813464925</cx:pt>
          <cx:pt idx="2402">199.134813464925</cx:pt>
          <cx:pt idx="2403">199.134813464925</cx:pt>
          <cx:pt idx="2404">199.134813464925</cx:pt>
          <cx:pt idx="2405">199.134813464925</cx:pt>
          <cx:pt idx="2406">199.134813464925</cx:pt>
          <cx:pt idx="2407">199.134813464925</cx:pt>
          <cx:pt idx="2408">199.134813464925</cx:pt>
          <cx:pt idx="2409">199.134813464925</cx:pt>
          <cx:pt idx="2410">199.134813464925</cx:pt>
          <cx:pt idx="2411">199.134813464925</cx:pt>
          <cx:pt idx="2412">199.134813464925</cx:pt>
          <cx:pt idx="2413">199.134813464925</cx:pt>
          <cx:pt idx="2414">199.134813464925</cx:pt>
          <cx:pt idx="2415">199.134813464925</cx:pt>
          <cx:pt idx="2416">199.134813464925</cx:pt>
          <cx:pt idx="2417">199.134813464925</cx:pt>
          <cx:pt idx="2418">199.134813464925</cx:pt>
          <cx:pt idx="2419">199.134813464925</cx:pt>
          <cx:pt idx="2420">199.00044943502039</cx:pt>
          <cx:pt idx="2421">198.62542494038499</cx:pt>
          <cx:pt idx="2422">198.62542494038499</cx:pt>
          <cx:pt idx="2423">198.50250528025441</cx:pt>
          <cx:pt idx="2424">198.35689631192025</cx:pt>
          <cx:pt idx="2425">198.35689631192025</cx:pt>
          <cx:pt idx="2426">198.35689631192025</cx:pt>
          <cx:pt idx="2427">198.1913021780895</cx:pt>
          <cx:pt idx="2428">198.1308714048352</cx:pt>
          <cx:pt idx="2429">197.99110440706167</cx:pt>
          <cx:pt idx="2430">197.99110440706167</cx:pt>
          <cx:pt idx="2431">197.99110440706167</cx:pt>
          <cx:pt idx="2432">197.48962776676501</cx:pt>
          <cx:pt idx="2433">197.48962776676501</cx:pt>
          <cx:pt idx="2434">197.468279526098</cx:pt>
          <cx:pt idx="2435">197.468279526098</cx:pt>
          <cx:pt idx="2436">197.29798819233181</cx:pt>
          <cx:pt idx="2437">197.29798819233181</cx:pt>
          <cx:pt idx="2438">197.29798819233181</cx:pt>
          <cx:pt idx="2439">197.21725694430143</cx:pt>
          <cx:pt idx="2440">197.11563558218631</cx:pt>
          <cx:pt idx="2441">197.11563558218631</cx:pt>
          <cx:pt idx="2442">197.11563558218631</cx:pt>
          <cx:pt idx="2443">196.90918108964502</cx:pt>
          <cx:pt idx="2444">196.90918108964502</cx:pt>
          <cx:pt idx="2445">196.7284951711876</cx:pt>
          <cx:pt idx="2446">196.60596158012001</cx:pt>
          <cx:pt idx="2447">196.60596158012001</cx:pt>
          <cx:pt idx="2448">196.49851760615169</cx:pt>
          <cx:pt idx="2449">196.06074445928499</cx:pt>
          <cx:pt idx="2450">196.06074445928499</cx:pt>
          <cx:pt idx="2451">196.06074445928499</cx:pt>
          <cx:pt idx="2452">196.06074445928499</cx:pt>
          <cx:pt idx="2453">196.06074445928499</cx:pt>
          <cx:pt idx="2454">196.06074445928499</cx:pt>
          <cx:pt idx="2455">196.06074445928499</cx:pt>
          <cx:pt idx="2456">196.06074445928499</cx:pt>
          <cx:pt idx="2457">196.06074445928499</cx:pt>
          <cx:pt idx="2458">196.06074445928499</cx:pt>
          <cx:pt idx="2459">196.06074445928499</cx:pt>
          <cx:pt idx="2460">196.06074445928499</cx:pt>
          <cx:pt idx="2461">196.06074445928499</cx:pt>
          <cx:pt idx="2462">196.06074445928499</cx:pt>
          <cx:pt idx="2463">196.06074445928499</cx:pt>
          <cx:pt idx="2464">196.06074445928499</cx:pt>
          <cx:pt idx="2465">196.06074445928499</cx:pt>
          <cx:pt idx="2466">196.06074445928499</cx:pt>
          <cx:pt idx="2467">196.06074445928499</cx:pt>
          <cx:pt idx="2468">196.06074445928499</cx:pt>
          <cx:pt idx="2469">196.06074445928499</cx:pt>
          <cx:pt idx="2470">196.06074445928499</cx:pt>
          <cx:pt idx="2471">196.06074445928499</cx:pt>
          <cx:pt idx="2472">196.06074445928499</cx:pt>
          <cx:pt idx="2473">196.06074445928499</cx:pt>
          <cx:pt idx="2474">196.06074445928499</cx:pt>
          <cx:pt idx="2475">196.06074445928499</cx:pt>
          <cx:pt idx="2476">196.06074445928499</cx:pt>
          <cx:pt idx="2477">196.06074445928499</cx:pt>
          <cx:pt idx="2478">196.06074445928499</cx:pt>
          <cx:pt idx="2479">196.06074445928499</cx:pt>
          <cx:pt idx="2480">196.06074445928499</cx:pt>
          <cx:pt idx="2481">196.06074445928499</cx:pt>
          <cx:pt idx="2482">196.06074445928499</cx:pt>
          <cx:pt idx="2483">196.06074445928499</cx:pt>
          <cx:pt idx="2484">196.06074445928499</cx:pt>
          <cx:pt idx="2485">196.06074445928499</cx:pt>
          <cx:pt idx="2486">195.98255843701662</cx:pt>
          <cx:pt idx="2487">195.56842658779581</cx:pt>
          <cx:pt idx="2488">195.51410985202429</cx:pt>
          <cx:pt idx="2489">195.51410985202429</cx:pt>
          <cx:pt idx="2490">195.425931030431</cx:pt>
          <cx:pt idx="2491">195.425931030431</cx:pt>
          <cx:pt idx="2492">195.425931030431</cx:pt>
          <cx:pt idx="2493">195.425931030431</cx:pt>
          <cx:pt idx="2494">195.425931030431</cx:pt>
          <cx:pt idx="2495">195.425931030431</cx:pt>
          <cx:pt idx="2496">195.425931030431</cx:pt>
          <cx:pt idx="2497">195.425931030431</cx:pt>
          <cx:pt idx="2498">195.425931030431</cx:pt>
          <cx:pt idx="2499">195.425931030431</cx:pt>
          <cx:pt idx="2500">195.425931030431</cx:pt>
          <cx:pt idx="2501">195.425931030431</cx:pt>
          <cx:pt idx="2502">195.425931030431</cx:pt>
          <cx:pt idx="2503">195.425931030431</cx:pt>
          <cx:pt idx="2504">195.425931030431</cx:pt>
          <cx:pt idx="2505">195.425931030431</cx:pt>
          <cx:pt idx="2506">195.425931030431</cx:pt>
          <cx:pt idx="2507">195.425931030431</cx:pt>
          <cx:pt idx="2508">195.425931030431</cx:pt>
          <cx:pt idx="2509">195.425931030431</cx:pt>
          <cx:pt idx="2510">195.425931030431</cx:pt>
          <cx:pt idx="2511">195.425931030431</cx:pt>
          <cx:pt idx="2512">195.425931030431</cx:pt>
          <cx:pt idx="2513">195.425931030431</cx:pt>
          <cx:pt idx="2514">195.425931030431</cx:pt>
          <cx:pt idx="2515">195.425931030431</cx:pt>
          <cx:pt idx="2516">195.425931030431</cx:pt>
          <cx:pt idx="2517">195.425931030431</cx:pt>
          <cx:pt idx="2518">195.425931030431</cx:pt>
          <cx:pt idx="2519">195.425931030431</cx:pt>
          <cx:pt idx="2520">195.425931030431</cx:pt>
          <cx:pt idx="2521">195.425931030431</cx:pt>
          <cx:pt idx="2522">195.425931030431</cx:pt>
          <cx:pt idx="2523">195.32126647323713</cx:pt>
          <cx:pt idx="2524">195.30322534398999</cx:pt>
          <cx:pt idx="2525">194.90342012011439</cx:pt>
          <cx:pt idx="2526">194.90342012011439</cx:pt>
          <cx:pt idx="2527">194.90282989075169</cx:pt>
          <cx:pt idx="2528">194.878693712738</cx:pt>
          <cx:pt idx="2529">194.44708412195601</cx:pt>
          <cx:pt idx="2530">194.44708412195601</cx:pt>
          <cx:pt idx="2531">194.44708412195601</cx:pt>
          <cx:pt idx="2532">194.44708412195601</cx:pt>
          <cx:pt idx="2533">194.44708412195601</cx:pt>
          <cx:pt idx="2534">194.44708412195601</cx:pt>
          <cx:pt idx="2535">194.44708412195601</cx:pt>
          <cx:pt idx="2536">194.44708412195601</cx:pt>
          <cx:pt idx="2537">194.44708412195601</cx:pt>
          <cx:pt idx="2538">194.44708412195601</cx:pt>
          <cx:pt idx="2539">194.44708412195601</cx:pt>
          <cx:pt idx="2540">194.44708412195601</cx:pt>
          <cx:pt idx="2541">194.44708412195601</cx:pt>
          <cx:pt idx="2542">194.44708412195601</cx:pt>
          <cx:pt idx="2543">194.44708412195601</cx:pt>
          <cx:pt idx="2544">194.44708412195601</cx:pt>
          <cx:pt idx="2545">194.44708412195601</cx:pt>
          <cx:pt idx="2546">194.44708412195601</cx:pt>
          <cx:pt idx="2547">194.44708412195601</cx:pt>
          <cx:pt idx="2548">194.44708412195601</cx:pt>
          <cx:pt idx="2549">194.44708412195601</cx:pt>
          <cx:pt idx="2550">194.44708412195601</cx:pt>
          <cx:pt idx="2551">194.44708412195601</cx:pt>
          <cx:pt idx="2552">194.27220711924701</cx:pt>
          <cx:pt idx="2553">194.27220711924701</cx:pt>
          <cx:pt idx="2554">194.27220711924701</cx:pt>
          <cx:pt idx="2555">194.27220711924701</cx:pt>
          <cx:pt idx="2556">194.27220711924701</cx:pt>
          <cx:pt idx="2557">194.27220711924701</cx:pt>
          <cx:pt idx="2558">194.27220711924701</cx:pt>
          <cx:pt idx="2559">194.27220711924701</cx:pt>
          <cx:pt idx="2560">194.27220711924701</cx:pt>
          <cx:pt idx="2561">194.27220711924701</cx:pt>
          <cx:pt idx="2562">194.27220711924701</cx:pt>
          <cx:pt idx="2563">194.27220711924701</cx:pt>
          <cx:pt idx="2564">194.27220711924701</cx:pt>
          <cx:pt idx="2565">194.27220711924701</cx:pt>
          <cx:pt idx="2566">194.27220711924701</cx:pt>
          <cx:pt idx="2567">194.27220711924701</cx:pt>
          <cx:pt idx="2568">194.27220711924701</cx:pt>
          <cx:pt idx="2569">194.27220711924701</cx:pt>
          <cx:pt idx="2570">194.27220711924701</cx:pt>
          <cx:pt idx="2571">194.27220711924701</cx:pt>
          <cx:pt idx="2572">194.27220711924701</cx:pt>
          <cx:pt idx="2573">194.27220711924701</cx:pt>
          <cx:pt idx="2574">194.27220711924701</cx:pt>
          <cx:pt idx="2575">194.27220711924701</cx:pt>
          <cx:pt idx="2576">194.27220711924701</cx:pt>
          <cx:pt idx="2577">194.27220711924701</cx:pt>
          <cx:pt idx="2578">194.27220711924701</cx:pt>
          <cx:pt idx="2579">194.27220711924701</cx:pt>
          <cx:pt idx="2580">194.27220711924701</cx:pt>
          <cx:pt idx="2581">194.27220711924701</cx:pt>
          <cx:pt idx="2582">194.27220711924701</cx:pt>
          <cx:pt idx="2583">194.27220711924701</cx:pt>
          <cx:pt idx="2584">194.25551124695602</cx:pt>
          <cx:pt idx="2585">194.0460249702432</cx:pt>
          <cx:pt idx="2586">194.0460249702432</cx:pt>
          <cx:pt idx="2587">194.0460249702432</cx:pt>
          <cx:pt idx="2588">194.0460249702432</cx:pt>
          <cx:pt idx="2589">193.77564634419716</cx:pt>
          <cx:pt idx="2590">193.62069465972286</cx:pt>
          <cx:pt idx="2591">193.50283052742429</cx:pt>
          <cx:pt idx="2592">193.23172100335421</cx:pt>
          <cx:pt idx="2593">193.23172100335421</cx:pt>
          <cx:pt idx="2594">193.23172100335421</cx:pt>
          <cx:pt idx="2595">192.87052480424435</cx:pt>
          <cx:pt idx="2596">192.41022200389</cx:pt>
          <cx:pt idx="2597">192.41022200389</cx:pt>
          <cx:pt idx="2598">192.41022200389</cx:pt>
          <cx:pt idx="2599">192.41022200389</cx:pt>
          <cx:pt idx="2600">192.41022200389</cx:pt>
          <cx:pt idx="2601">192.41022200389</cx:pt>
          <cx:pt idx="2602">192.41022200389</cx:pt>
          <cx:pt idx="2603">192.41022200389</cx:pt>
          <cx:pt idx="2604">192.41022200389</cx:pt>
          <cx:pt idx="2605">192.41022200389</cx:pt>
          <cx:pt idx="2606">192.41022200389</cx:pt>
          <cx:pt idx="2607">192.41022200389</cx:pt>
          <cx:pt idx="2608">192.41022200389</cx:pt>
          <cx:pt idx="2609">192.41022200389</cx:pt>
          <cx:pt idx="2610">192.41022200389</cx:pt>
          <cx:pt idx="2611">192.3825284614866</cx:pt>
          <cx:pt idx="2612">192.36151628465799</cx:pt>
          <cx:pt idx="2613">192.36151628465799</cx:pt>
          <cx:pt idx="2614">192.36151628465799</cx:pt>
          <cx:pt idx="2615">192.36151628465799</cx:pt>
          <cx:pt idx="2616">192.36151628465799</cx:pt>
          <cx:pt idx="2617">192.12174690605076</cx:pt>
          <cx:pt idx="2618">192.12174690605076</cx:pt>
          <cx:pt idx="2619">192.05548139701858</cx:pt>
          <cx:pt idx="2620">191.90782362627451</cx:pt>
          <cx:pt idx="2621">191.90782362627451</cx:pt>
          <cx:pt idx="2622">191.90782362627451</cx:pt>
          <cx:pt idx="2623">191.90782362627451</cx:pt>
          <cx:pt idx="2624">191.90782362627451</cx:pt>
          <cx:pt idx="2625">191.90782362627451</cx:pt>
          <cx:pt idx="2626">191.19932274960675</cx:pt>
          <cx:pt idx="2627">191.17847640745001</cx:pt>
          <cx:pt idx="2628">191.08589929004026</cx:pt>
          <cx:pt idx="2629">190.678228274617</cx:pt>
          <cx:pt idx="2630">190.678228274617</cx:pt>
          <cx:pt idx="2631">190.678228274617</cx:pt>
          <cx:pt idx="2632">190.678228274617</cx:pt>
          <cx:pt idx="2633">190.678228274617</cx:pt>
          <cx:pt idx="2634">190.678228274617</cx:pt>
          <cx:pt idx="2635">190.678228274617</cx:pt>
          <cx:pt idx="2636">190.678228274617</cx:pt>
          <cx:pt idx="2637">190.678228274617</cx:pt>
          <cx:pt idx="2638">190.678228274617</cx:pt>
          <cx:pt idx="2639">190.678228274617</cx:pt>
          <cx:pt idx="2640">190.678228274617</cx:pt>
          <cx:pt idx="2641">190.678228274617</cx:pt>
          <cx:pt idx="2642">190.678228274617</cx:pt>
          <cx:pt idx="2643">190.678228274617</cx:pt>
          <cx:pt idx="2644">190.678228274617</cx:pt>
          <cx:pt idx="2645">190.678228274617</cx:pt>
          <cx:pt idx="2646">190.678228274617</cx:pt>
          <cx:pt idx="2647">190.678228274617</cx:pt>
          <cx:pt idx="2648">190.678228274617</cx:pt>
          <cx:pt idx="2649">190.678228274617</cx:pt>
          <cx:pt idx="2650">190.678228274617</cx:pt>
          <cx:pt idx="2651">190.678228274617</cx:pt>
          <cx:pt idx="2652">190.678228274617</cx:pt>
          <cx:pt idx="2653">190.678228274617</cx:pt>
          <cx:pt idx="2654">190.6284598005557</cx:pt>
          <cx:pt idx="2655">190.6284598005557</cx:pt>
          <cx:pt idx="2656">190.61996395394999</cx:pt>
          <cx:pt idx="2657">190.48233386279099</cx:pt>
          <cx:pt idx="2658">190.48233386279099</cx:pt>
          <cx:pt idx="2659">190.48233386279099</cx:pt>
          <cx:pt idx="2660">190.48233386279099</cx:pt>
          <cx:pt idx="2661">190.48233386279099</cx:pt>
          <cx:pt idx="2662">190.48233386279099</cx:pt>
          <cx:pt idx="2663">190.48233386279099</cx:pt>
          <cx:pt idx="2664">190.48233386279099</cx:pt>
          <cx:pt idx="2665">190.48233386279099</cx:pt>
          <cx:pt idx="2666">190.48233386279099</cx:pt>
          <cx:pt idx="2667">190.48233386279099</cx:pt>
          <cx:pt idx="2668">190.48233386279099</cx:pt>
          <cx:pt idx="2669">190.48233386279099</cx:pt>
          <cx:pt idx="2670">190.48233386279099</cx:pt>
          <cx:pt idx="2671">190.48233386279099</cx:pt>
          <cx:pt idx="2672">190.48233386279099</cx:pt>
          <cx:pt idx="2673">190.48233386279099</cx:pt>
          <cx:pt idx="2674">190.48233386279099</cx:pt>
          <cx:pt idx="2675">190.48233386279099</cx:pt>
          <cx:pt idx="2676">190.48233386279099</cx:pt>
          <cx:pt idx="2677">190.48233386279099</cx:pt>
          <cx:pt idx="2678">190.48233386279099</cx:pt>
          <cx:pt idx="2679">190.48233386279099</cx:pt>
          <cx:pt idx="2680">190.48233386279099</cx:pt>
          <cx:pt idx="2681">190.48233386279099</cx:pt>
          <cx:pt idx="2682">190.48233386279099</cx:pt>
          <cx:pt idx="2683">190.48233386279099</cx:pt>
          <cx:pt idx="2684">190.26700420259439</cx:pt>
          <cx:pt idx="2685">190.26700420259439</cx:pt>
          <cx:pt idx="2686">190.21714318464169</cx:pt>
          <cx:pt idx="2687">189.84046525937725</cx:pt>
          <cx:pt idx="2688">189.832006464702</cx:pt>
          <cx:pt idx="2689">189.832006464702</cx:pt>
          <cx:pt idx="2690">189.7069232657235</cx:pt>
          <cx:pt idx="2691">189.7069232657235</cx:pt>
          <cx:pt idx="2692">189.7069232657235</cx:pt>
          <cx:pt idx="2693">189.698897630294</cx:pt>
          <cx:pt idx="2694">189.698897630294</cx:pt>
          <cx:pt idx="2695">189.698897630294</cx:pt>
          <cx:pt idx="2696">189.698897630294</cx:pt>
          <cx:pt idx="2697">189.698897630294</cx:pt>
          <cx:pt idx="2698">189.66304771314924</cx:pt>
          <cx:pt idx="2699">189.58360115487625</cx:pt>
          <cx:pt idx="2700">189.58360115487625</cx:pt>
          <cx:pt idx="2701">189.58360115487625</cx:pt>
          <cx:pt idx="2702">189.58360115487625</cx:pt>
          <cx:pt idx="2703">189.58360115487625</cx:pt>
          <cx:pt idx="2704">189.58360115487625</cx:pt>
          <cx:pt idx="2705">189.58360115487625</cx:pt>
          <cx:pt idx="2706">189.58360115487625</cx:pt>
          <cx:pt idx="2707">189.576701517678</cx:pt>
          <cx:pt idx="2708">189.576701517678</cx:pt>
          <cx:pt idx="2709">189.47001045094831</cx:pt>
          <cx:pt idx="2710">189.47001045094831</cx:pt>
          <cx:pt idx="2711">189.47001045094831</cx:pt>
          <cx:pt idx="2712">189.47001045094831</cx:pt>
          <cx:pt idx="2713">189.47001045094831</cx:pt>
          <cx:pt idx="2714">189.47001045094831</cx:pt>
          <cx:pt idx="2715">189.47001045094831</cx:pt>
          <cx:pt idx="2716">189.47001045094831</cx:pt>
          <cx:pt idx="2717">189.47001045094831</cx:pt>
          <cx:pt idx="2718">189.47001045094831</cx:pt>
          <cx:pt idx="2719">189.47001045094831</cx:pt>
          <cx:pt idx="2720">189.40022693029854</cx:pt>
          <cx:pt idx="2721">189.03148251428775</cx:pt>
          <cx:pt idx="2722">189.03148251428775</cx:pt>
          <cx:pt idx="2723">188.78768909937125</cx:pt>
          <cx:pt idx="2724">188.78768909937125</cx:pt>
          <cx:pt idx="2725">188.52531527828668</cx:pt>
          <cx:pt idx="2726">188.32129232934668</cx:pt>
          <cx:pt idx="2727">188.205490195273</cx:pt>
          <cx:pt idx="2728">187.67986144341924</cx:pt>
          <cx:pt idx="2729">187.67986144341924</cx:pt>
          <cx:pt idx="2730">187.59156489686262</cx:pt>
          <cx:pt idx="2731">187.59156489686262</cx:pt>
          <cx:pt idx="2732">187.56579442768299</cx:pt>
          <cx:pt idx="2733">187.56579442768299</cx:pt>
          <cx:pt idx="2734">187.56579442768299</cx:pt>
          <cx:pt idx="2735">187.56579442768299</cx:pt>
          <cx:pt idx="2736">187.56579442768299</cx:pt>
          <cx:pt idx="2737">187.5111829750295</cx:pt>
          <cx:pt idx="2738">187.5111829750295</cx:pt>
          <cx:pt idx="2739">187.5111829750295</cx:pt>
          <cx:pt idx="2740">187.5111829750295</cx:pt>
          <cx:pt idx="2741">187.50714073837099</cx:pt>
          <cx:pt idx="2742">187.37609219828499</cx:pt>
          <cx:pt idx="2743">187.37609219828499</cx:pt>
          <cx:pt idx="2744">187.37609219828499</cx:pt>
          <cx:pt idx="2745">187.37609219828499</cx:pt>
          <cx:pt idx="2746">187.29407113596051</cx:pt>
          <cx:pt idx="2747">187.29407113596051</cx:pt>
          <cx:pt idx="2748">187.13783335836774</cx:pt>
          <cx:pt idx="2749">187.13783335836774</cx:pt>
          <cx:pt idx="2750">187.13783335836774</cx:pt>
          <cx:pt idx="2751">187.13783335836774</cx:pt>
          <cx:pt idx="2752">187.13783335836774</cx:pt>
          <cx:pt idx="2753">187.13783335836774</cx:pt>
          <cx:pt idx="2754">187.13783335836774</cx:pt>
          <cx:pt idx="2755">187.13783335836774</cx:pt>
          <cx:pt idx="2756">187.03625821326833</cx:pt>
          <cx:pt idx="2757">187.03625821326833</cx:pt>
          <cx:pt idx="2758">187.00073985507174</cx:pt>
          <cx:pt idx="2759">186.64653937434286</cx:pt>
          <cx:pt idx="2760">186.6157140371256</cx:pt>
          <cx:pt idx="2761">186.61410904803066</cx:pt>
          <cx:pt idx="2762">186.61410904803066</cx:pt>
          <cx:pt idx="2763">186.61410904803066</cx:pt>
          <cx:pt idx="2764">186.61410904803066</cx:pt>
          <cx:pt idx="2765">186.61410904803066</cx:pt>
          <cx:pt idx="2766">186.61410904803066</cx:pt>
          <cx:pt idx="2767">186.61410904803066</cx:pt>
          <cx:pt idx="2768">186.61410904803066</cx:pt>
          <cx:pt idx="2769">186.61410904803066</cx:pt>
          <cx:pt idx="2770">186.61410904803066</cx:pt>
          <cx:pt idx="2771">186.61410904803066</cx:pt>
          <cx:pt idx="2772">186.61410904803066</cx:pt>
          <cx:pt idx="2773">186.61410904803066</cx:pt>
          <cx:pt idx="2774">186.61410904803066</cx:pt>
          <cx:pt idx="2775">186.61410904803066</cx:pt>
          <cx:pt idx="2776">186.61410904803066</cx:pt>
          <cx:pt idx="2777">186.61410904803066</cx:pt>
          <cx:pt idx="2778">186.61410904803066</cx:pt>
          <cx:pt idx="2779">186.4448425724984</cx:pt>
          <cx:pt idx="2780">186.4448425724984</cx:pt>
          <cx:pt idx="2781">186.36333731273331</cx:pt>
          <cx:pt idx="2782">186.23793423216949</cx:pt>
          <cx:pt idx="2783">186.23649369770467</cx:pt>
          <cx:pt idx="2784">186.23649369770467</cx:pt>
          <cx:pt idx="2785">186.23649369770467</cx:pt>
          <cx:pt idx="2786">186.0566129651975</cx:pt>
          <cx:pt idx="2787">185.92870894783502</cx:pt>
          <cx:pt idx="2788">185.780286318935</cx:pt>
          <cx:pt idx="2789">185.780286318935</cx:pt>
          <cx:pt idx="2790">185.780286318935</cx:pt>
          <cx:pt idx="2791">185.780286318935</cx:pt>
          <cx:pt idx="2792">185.780286318935</cx:pt>
          <cx:pt idx="2793">185.780286318935</cx:pt>
          <cx:pt idx="2794">185.780286318935</cx:pt>
          <cx:pt idx="2795">185.780286318935</cx:pt>
          <cx:pt idx="2796">185.780286318935</cx:pt>
          <cx:pt idx="2797">185.780286318935</cx:pt>
          <cx:pt idx="2798">185.780286318935</cx:pt>
          <cx:pt idx="2799">185.780286318935</cx:pt>
          <cx:pt idx="2800">185.780286318935</cx:pt>
          <cx:pt idx="2801">185.780286318935</cx:pt>
          <cx:pt idx="2802">185.780286318935</cx:pt>
          <cx:pt idx="2803">185.780286318935</cx:pt>
          <cx:pt idx="2804">185.780286318935</cx:pt>
          <cx:pt idx="2805">185.780286318935</cx:pt>
          <cx:pt idx="2806">185.780286318935</cx:pt>
          <cx:pt idx="2807">185.780286318935</cx:pt>
          <cx:pt idx="2808">185.780286318935</cx:pt>
          <cx:pt idx="2809">185.780286318935</cx:pt>
          <cx:pt idx="2810">185.780286318935</cx:pt>
          <cx:pt idx="2811">185.780286318935</cx:pt>
          <cx:pt idx="2812">185.75454142886139</cx:pt>
          <cx:pt idx="2813">185.62347715823168</cx:pt>
          <cx:pt idx="2814">185.3247314178615</cx:pt>
          <cx:pt idx="2815">185.22235251575398</cx:pt>
          <cx:pt idx="2816">185.07555041149999</cx:pt>
          <cx:pt idx="2817">185.07555041149999</cx:pt>
          <cx:pt idx="2818">185.07555041149999</cx:pt>
          <cx:pt idx="2819">184.47186437383667</cx:pt>
          <cx:pt idx="2820">184.368100900104</cx:pt>
          <cx:pt idx="2821">184.368100900104</cx:pt>
          <cx:pt idx="2822">184.368100900104</cx:pt>
          <cx:pt idx="2823">183.98881489697331</cx:pt>
          <cx:pt idx="2824">183.70041103689002</cx:pt>
          <cx:pt idx="2825">183.68976430595669</cx:pt>
          <cx:pt idx="2826">183.68976430595669</cx:pt>
          <cx:pt idx="2827">183.68976430595669</cx:pt>
          <cx:pt idx="2828">183.68976430595669</cx:pt>
          <cx:pt idx="2829">183.68976430595669</cx:pt>
          <cx:pt idx="2830">183.63338312749875</cx:pt>
          <cx:pt idx="2831">183.58337482855165</cx:pt>
          <cx:pt idx="2832">183.57191912524888</cx:pt>
          <cx:pt idx="2833">183.50877468268999</cx:pt>
          <cx:pt idx="2834">183.50877468268999</cx:pt>
          <cx:pt idx="2835">183.50877468268999</cx:pt>
          <cx:pt idx="2836">183.50877468268999</cx:pt>
          <cx:pt idx="2837">183.50877468268999</cx:pt>
          <cx:pt idx="2838">183.31422056464851</cx:pt>
          <cx:pt idx="2839">183.27860194278603</cx:pt>
          <cx:pt idx="2840">183.14059173800834</cx:pt>
          <cx:pt idx="2841">183.10645785046751</cx:pt>
          <cx:pt idx="2842">183.10645785046751</cx:pt>
          <cx:pt idx="2843">183.10645785046751</cx:pt>
          <cx:pt idx="2844">183.10645785046751</cx:pt>
          <cx:pt idx="2845">183.10645785046751</cx:pt>
          <cx:pt idx="2846">183.10645785046751</cx:pt>
          <cx:pt idx="2847">183.10645785046751</cx:pt>
          <cx:pt idx="2848">183.10645785046751</cx:pt>
          <cx:pt idx="2849">183.10645785046751</cx:pt>
          <cx:pt idx="2850">183.10645785046751</cx:pt>
          <cx:pt idx="2851">183.10645785046751</cx:pt>
          <cx:pt idx="2852">183.10645785046751</cx:pt>
          <cx:pt idx="2853">183.10645785046751</cx:pt>
          <cx:pt idx="2854">183.10645785046751</cx:pt>
          <cx:pt idx="2855">183.10645785046751</cx:pt>
          <cx:pt idx="2856">183.10645785046751</cx:pt>
          <cx:pt idx="2857">183.10645785046751</cx:pt>
          <cx:pt idx="2858">183.10645785046751</cx:pt>
          <cx:pt idx="2859">183.10645785046751</cx:pt>
          <cx:pt idx="2860">183.106457850467</cx:pt>
          <cx:pt idx="2861">183.106457850467</cx:pt>
          <cx:pt idx="2862">183.106457850467</cx:pt>
          <cx:pt idx="2863">183.106457850467</cx:pt>
          <cx:pt idx="2864">183.106457850467</cx:pt>
          <cx:pt idx="2865">183.106457850467</cx:pt>
          <cx:pt idx="2866">183.106457850467</cx:pt>
          <cx:pt idx="2867">183.106457850467</cx:pt>
          <cx:pt idx="2868">183.106457850467</cx:pt>
          <cx:pt idx="2869">183.106457850467</cx:pt>
          <cx:pt idx="2870">183.106457850467</cx:pt>
          <cx:pt idx="2871">183.106457850467</cx:pt>
          <cx:pt idx="2872">183.106457850467</cx:pt>
          <cx:pt idx="2873">183.106457850467</cx:pt>
          <cx:pt idx="2874">183.106457850467</cx:pt>
          <cx:pt idx="2875">183.106457850467</cx:pt>
          <cx:pt idx="2876">183.106457850467</cx:pt>
          <cx:pt idx="2877">183.106457850467</cx:pt>
          <cx:pt idx="2878">183.106457850467</cx:pt>
          <cx:pt idx="2879">183.106457850467</cx:pt>
          <cx:pt idx="2880">183.106457850467</cx:pt>
          <cx:pt idx="2881">183.106457850467</cx:pt>
          <cx:pt idx="2882">183.106457850467</cx:pt>
          <cx:pt idx="2883">183.087890318142</cx:pt>
          <cx:pt idx="2884">182.99478305317601</cx:pt>
          <cx:pt idx="2885">182.99478305317601</cx:pt>
          <cx:pt idx="2886">182.98351309115367</cx:pt>
          <cx:pt idx="2887">182.97749651051399</cx:pt>
          <cx:pt idx="2888">182.97552113548167</cx:pt>
          <cx:pt idx="2889">182.62039659616286</cx:pt>
          <cx:pt idx="2890">182.62039659616286</cx:pt>
          <cx:pt idx="2891">182.59236184223499</cx:pt>
          <cx:pt idx="2892">182.59236184223499</cx:pt>
          <cx:pt idx="2893">182.59236184223499</cx:pt>
          <cx:pt idx="2894">182.59236184223499</cx:pt>
          <cx:pt idx="2895">182.59236184223499</cx:pt>
          <cx:pt idx="2896">182.59236184223499</cx:pt>
          <cx:pt idx="2897">182.59236184223499</cx:pt>
          <cx:pt idx="2898">182.59236184223499</cx:pt>
          <cx:pt idx="2899">182.59236184223499</cx:pt>
          <cx:pt idx="2900">182.59236184223499</cx:pt>
          <cx:pt idx="2901">182.59236184223499</cx:pt>
          <cx:pt idx="2902">182.59236184223499</cx:pt>
          <cx:pt idx="2903">182.59236184223499</cx:pt>
          <cx:pt idx="2904">182.59236184223499</cx:pt>
          <cx:pt idx="2905">182.59236184223499</cx:pt>
          <cx:pt idx="2906">182.59236184223499</cx:pt>
          <cx:pt idx="2907">182.59236184223499</cx:pt>
          <cx:pt idx="2908">182.59236184223499</cx:pt>
          <cx:pt idx="2909">182.49647278225498</cx:pt>
          <cx:pt idx="2910">182.49647278225498</cx:pt>
          <cx:pt idx="2911">182.49647278225498</cx:pt>
          <cx:pt idx="2912">182.49647278225498</cx:pt>
          <cx:pt idx="2913">182.49647278225498</cx:pt>
          <cx:pt idx="2914">182.49647278225498</cx:pt>
          <cx:pt idx="2915">182.49647278225498</cx:pt>
          <cx:pt idx="2916">182.49647278225498</cx:pt>
          <cx:pt idx="2917">182.32581410909341</cx:pt>
          <cx:pt idx="2918">182.32581410909341</cx:pt>
          <cx:pt idx="2919">182.32581410909341</cx:pt>
          <cx:pt idx="2920">181.92526447406428</cx:pt>
          <cx:pt idx="2921">181.92526447406428</cx:pt>
          <cx:pt idx="2922">181.92526447406428</cx:pt>
          <cx:pt idx="2923">181.80538494817733</cx:pt>
          <cx:pt idx="2924">181.80538494817733</cx:pt>
          <cx:pt idx="2925">181.80538494817733</cx:pt>
          <cx:pt idx="2926">181.80538494817733</cx:pt>
          <cx:pt idx="2927">181.80538494817733</cx:pt>
          <cx:pt idx="2928">181.80538494817733</cx:pt>
          <cx:pt idx="2929">181.80538494817733</cx:pt>
          <cx:pt idx="2930">181.80538494817733</cx:pt>
          <cx:pt idx="2931">181.80538494817733</cx:pt>
          <cx:pt idx="2932">181.80538494817733</cx:pt>
          <cx:pt idx="2933">181.80538494817733</cx:pt>
          <cx:pt idx="2934">181.80538494817733</cx:pt>
          <cx:pt idx="2935">181.80538494817733</cx:pt>
          <cx:pt idx="2936">181.80538494817733</cx:pt>
          <cx:pt idx="2937">181.80538494817733</cx:pt>
          <cx:pt idx="2938">181.80538494817733</cx:pt>
          <cx:pt idx="2939">181.80538494817733</cx:pt>
          <cx:pt idx="2940">181.80538494817733</cx:pt>
          <cx:pt idx="2941">181.80538494817733</cx:pt>
          <cx:pt idx="2942">181.80538494817733</cx:pt>
          <cx:pt idx="2943">181.80538494817733</cx:pt>
          <cx:pt idx="2944">181.80538494817733</cx:pt>
          <cx:pt idx="2945">181.80538494817733</cx:pt>
          <cx:pt idx="2946">181.80538494817733</cx:pt>
          <cx:pt idx="2947">181.80538494817733</cx:pt>
          <cx:pt idx="2948">181.80538494817733</cx:pt>
          <cx:pt idx="2949">181.80538494817733</cx:pt>
          <cx:pt idx="2950">181.80538494817733</cx:pt>
          <cx:pt idx="2951">181.80538494817733</cx:pt>
          <cx:pt idx="2952">181.80538494817733</cx:pt>
          <cx:pt idx="2953">181.80538494817733</cx:pt>
          <cx:pt idx="2954">181.80538494817733</cx:pt>
          <cx:pt idx="2955">181.80538494817733</cx:pt>
          <cx:pt idx="2956">181.80538494817733</cx:pt>
          <cx:pt idx="2957">181.80538494817733</cx:pt>
          <cx:pt idx="2958">181.80538494817733</cx:pt>
          <cx:pt idx="2959">181.80538494817733</cx:pt>
          <cx:pt idx="2960">181.80538494817733</cx:pt>
          <cx:pt idx="2961">181.80538494817733</cx:pt>
          <cx:pt idx="2962">181.80538494817733</cx:pt>
          <cx:pt idx="2963">181.80538494817733</cx:pt>
          <cx:pt idx="2964">181.80538494817733</cx:pt>
          <cx:pt idx="2965">181.80538494817733</cx:pt>
          <cx:pt idx="2966">181.80538494817733</cx:pt>
          <cx:pt idx="2967">181.80538494817733</cx:pt>
          <cx:pt idx="2968">181.80538494817733</cx:pt>
          <cx:pt idx="2969">181.80538494817733</cx:pt>
          <cx:pt idx="2970">181.80538494817733</cx:pt>
          <cx:pt idx="2971">181.80538494817733</cx:pt>
          <cx:pt idx="2972">181.80538494817733</cx:pt>
          <cx:pt idx="2973">181.48257671467198</cx:pt>
          <cx:pt idx="2974">181.48257671467198</cx:pt>
          <cx:pt idx="2975">181.47673972474144</cx:pt>
          <cx:pt idx="2976">181.160543440666</cx:pt>
          <cx:pt idx="2977">181.14200464870359</cx:pt>
          <cx:pt idx="2978">181.06196684832199</cx:pt>
          <cx:pt idx="2979">180.87873850773533</cx:pt>
          <cx:pt idx="2980">180.87873850773533</cx:pt>
          <cx:pt idx="2981">180.87873850773533</cx:pt>
          <cx:pt idx="2982">180.87873850773533</cx:pt>
          <cx:pt idx="2983">180.87873850773533</cx:pt>
          <cx:pt idx="2984">180.87873850773533</cx:pt>
          <cx:pt idx="2985">180.87873850773533</cx:pt>
          <cx:pt idx="2986">180.87873850773533</cx:pt>
          <cx:pt idx="2987">180.87873850773533</cx:pt>
          <cx:pt idx="2988">180.87873850773533</cx:pt>
          <cx:pt idx="2989">180.87873850773533</cx:pt>
          <cx:pt idx="2990">180.87873850773533</cx:pt>
          <cx:pt idx="2991">180.87873850773533</cx:pt>
          <cx:pt idx="2992">180.87873850773533</cx:pt>
          <cx:pt idx="2993">180.777685743803</cx:pt>
          <cx:pt idx="2994">180.777685743803</cx:pt>
          <cx:pt idx="2995">180.777685743803</cx:pt>
          <cx:pt idx="2996">180.777685743803</cx:pt>
          <cx:pt idx="2997">180.777685743803</cx:pt>
          <cx:pt idx="2998">180.777685743803</cx:pt>
          <cx:pt idx="2999">180.777685743803</cx:pt>
          <cx:pt idx="3000">180.777685743803</cx:pt>
          <cx:pt idx="3001">180.777685743803</cx:pt>
          <cx:pt idx="3002">180.777685743803</cx:pt>
          <cx:pt idx="3003">180.777685743803</cx:pt>
          <cx:pt idx="3004">180.777685743803</cx:pt>
          <cx:pt idx="3005">180.777685743803</cx:pt>
          <cx:pt idx="3006">180.777685743803</cx:pt>
          <cx:pt idx="3007">180.777685743803</cx:pt>
          <cx:pt idx="3008">180.631917045492</cx:pt>
          <cx:pt idx="3009">180.631917045492</cx:pt>
          <cx:pt idx="3010">180.55472745808166</cx:pt>
          <cx:pt idx="3011">180.53497351493601</cx:pt>
          <cx:pt idx="3012">180.53497351493601</cx:pt>
          <cx:pt idx="3013">180.53497351493601</cx:pt>
          <cx:pt idx="3014">180.53497351493601</cx:pt>
          <cx:pt idx="3015">180.53497351493601</cx:pt>
          <cx:pt idx="3016">180.53497351493601</cx:pt>
          <cx:pt idx="3017">180.53497351493601</cx:pt>
          <cx:pt idx="3018">180.53497351493601</cx:pt>
          <cx:pt idx="3019">180.53497351493601</cx:pt>
          <cx:pt idx="3020">180.53497351493601</cx:pt>
          <cx:pt idx="3021">180.53497351493601</cx:pt>
          <cx:pt idx="3022">180.53497351493601</cx:pt>
          <cx:pt idx="3023">180.53497351493601</cx:pt>
          <cx:pt idx="3024">180.53497351493601</cx:pt>
          <cx:pt idx="3025">180.53497351493601</cx:pt>
          <cx:pt idx="3026">180.53497351493601</cx:pt>
          <cx:pt idx="3027">180.53497351493601</cx:pt>
          <cx:pt idx="3028">180.53497351493601</cx:pt>
          <cx:pt idx="3029">180.53497351493601</cx:pt>
          <cx:pt idx="3030">180.53497351493601</cx:pt>
          <cx:pt idx="3031">180.53497351493601</cx:pt>
          <cx:pt idx="3032">180.53497351493601</cx:pt>
          <cx:pt idx="3033">180.53497351493601</cx:pt>
          <cx:pt idx="3034">180.53497351493601</cx:pt>
          <cx:pt idx="3035">180.53497351493601</cx:pt>
          <cx:pt idx="3036">180.53497351493601</cx:pt>
          <cx:pt idx="3037">180.01215422659502</cx:pt>
          <cx:pt idx="3038">179.83817267333026</cx:pt>
          <cx:pt idx="3039">179.48272651148551</cx:pt>
          <cx:pt idx="3040">179.15235570498143</cx:pt>
          <cx:pt idx="3041">179.11094307845849</cx:pt>
          <cx:pt idx="3042">178.96543689066419</cx:pt>
          <cx:pt idx="3043">178.96543689066419</cx:pt>
          <cx:pt idx="3044">178.888472018204</cx:pt>
          <cx:pt idx="3045">178.888472018204</cx:pt>
          <cx:pt idx="3046">178.888472018204</cx:pt>
          <cx:pt idx="3047">178.888472018204</cx:pt>
          <cx:pt idx="3048">178.888472018204</cx:pt>
          <cx:pt idx="3049">178.888472018204</cx:pt>
          <cx:pt idx="3050">178.888472018204</cx:pt>
          <cx:pt idx="3051">178.888472018204</cx:pt>
          <cx:pt idx="3052">178.88387397699</cx:pt>
          <cx:pt idx="3053">178.823800001568</cx:pt>
          <cx:pt idx="3054">178.823800001568</cx:pt>
          <cx:pt idx="3055">178.823800001568</cx:pt>
          <cx:pt idx="3056">178.823800001568</cx:pt>
          <cx:pt idx="3057">178.823800001568</cx:pt>
          <cx:pt idx="3058">178.823800001568</cx:pt>
          <cx:pt idx="3059">178.823800001568</cx:pt>
          <cx:pt idx="3060">178.823800001568</cx:pt>
          <cx:pt idx="3061">178.823800001568</cx:pt>
          <cx:pt idx="3062">178.823800001568</cx:pt>
          <cx:pt idx="3063">178.823800001568</cx:pt>
          <cx:pt idx="3064">178.823800001568</cx:pt>
          <cx:pt idx="3065">178.823800001568</cx:pt>
          <cx:pt idx="3066">178.823800001568</cx:pt>
          <cx:pt idx="3067">178.823800001568</cx:pt>
          <cx:pt idx="3068">178.823800001568</cx:pt>
          <cx:pt idx="3069">178.823800001568</cx:pt>
          <cx:pt idx="3070">178.823800001568</cx:pt>
          <cx:pt idx="3071">178.823800001568</cx:pt>
          <cx:pt idx="3072">178.823800001568</cx:pt>
          <cx:pt idx="3073">178.823800001568</cx:pt>
          <cx:pt idx="3074">178.823800001568</cx:pt>
          <cx:pt idx="3075">178.823800001568</cx:pt>
          <cx:pt idx="3076">178.823800001568</cx:pt>
          <cx:pt idx="3077">178.823800001568</cx:pt>
          <cx:pt idx="3078">178.823800001568</cx:pt>
          <cx:pt idx="3079">178.823800001568</cx:pt>
          <cx:pt idx="3080">178.823800001568</cx:pt>
          <cx:pt idx="3081">178.823800001568</cx:pt>
          <cx:pt idx="3082">178.823800001568</cx:pt>
          <cx:pt idx="3083">178.823800001568</cx:pt>
          <cx:pt idx="3084">178.823800001568</cx:pt>
          <cx:pt idx="3085">178.823800001568</cx:pt>
          <cx:pt idx="3086">178.823800001568</cx:pt>
          <cx:pt idx="3087">178.823800001568</cx:pt>
          <cx:pt idx="3088">178.823800001568</cx:pt>
          <cx:pt idx="3089">178.823800001568</cx:pt>
          <cx:pt idx="3090">178.823800001568</cx:pt>
          <cx:pt idx="3091">178.823800001568</cx:pt>
          <cx:pt idx="3092">178.823800001568</cx:pt>
          <cx:pt idx="3093">178.823800001568</cx:pt>
          <cx:pt idx="3094">178.823800001568</cx:pt>
          <cx:pt idx="3095">178.823800001568</cx:pt>
          <cx:pt idx="3096">178.823800001568</cx:pt>
          <cx:pt idx="3097">178.823800001568</cx:pt>
          <cx:pt idx="3098">178.823800001568</cx:pt>
          <cx:pt idx="3099">178.823800001568</cx:pt>
          <cx:pt idx="3100">178.823800001568</cx:pt>
          <cx:pt idx="3101">178.823800001568</cx:pt>
          <cx:pt idx="3102">178.823800001568</cx:pt>
          <cx:pt idx="3103">178.823800001568</cx:pt>
          <cx:pt idx="3104">178.823800001568</cx:pt>
          <cx:pt idx="3105">178.823800001568</cx:pt>
          <cx:pt idx="3106">178.823800001568</cx:pt>
          <cx:pt idx="3107">178.823800001568</cx:pt>
          <cx:pt idx="3108">178.823800001568</cx:pt>
          <cx:pt idx="3109">178.823800001568</cx:pt>
          <cx:pt idx="3110">178.823800001568</cx:pt>
          <cx:pt idx="3111">178.823800001568</cx:pt>
          <cx:pt idx="3112">178.823800001568</cx:pt>
          <cx:pt idx="3113">178.823800001568</cx:pt>
          <cx:pt idx="3114">178.823800001568</cx:pt>
          <cx:pt idx="3115">178.823800001568</cx:pt>
          <cx:pt idx="3116">178.823800001568</cx:pt>
          <cx:pt idx="3117">178.823800001568</cx:pt>
          <cx:pt idx="3118">178.823800001568</cx:pt>
          <cx:pt idx="3119">178.823800001568</cx:pt>
          <cx:pt idx="3120">178.823800001568</cx:pt>
          <cx:pt idx="3121">178.823800001568</cx:pt>
          <cx:pt idx="3122">178.823800001568</cx:pt>
          <cx:pt idx="3123">178.69884848707801</cx:pt>
          <cx:pt idx="3124">178.69884848707801</cx:pt>
          <cx:pt idx="3125">178.69884848707801</cx:pt>
          <cx:pt idx="3126">178.69884848707801</cx:pt>
          <cx:pt idx="3127">178.69884848707801</cx:pt>
          <cx:pt idx="3128">178.69884848707801</cx:pt>
          <cx:pt idx="3129">178.69884848707801</cx:pt>
          <cx:pt idx="3130">178.69884848707801</cx:pt>
          <cx:pt idx="3131">178.69884848707801</cx:pt>
          <cx:pt idx="3132">178.69884848707801</cx:pt>
          <cx:pt idx="3133">178.69884848707801</cx:pt>
          <cx:pt idx="3134">178.69884848707801</cx:pt>
          <cx:pt idx="3135">178.69884848707801</cx:pt>
          <cx:pt idx="3136">178.69884848707801</cx:pt>
          <cx:pt idx="3137">178.69884848707801</cx:pt>
          <cx:pt idx="3138">178.69884848707801</cx:pt>
          <cx:pt idx="3139">178.69884848707801</cx:pt>
          <cx:pt idx="3140">178.69884848707801</cx:pt>
          <cx:pt idx="3141">178.69884848707801</cx:pt>
          <cx:pt idx="3142">178.69884848707801</cx:pt>
          <cx:pt idx="3143">178.69884848707801</cx:pt>
          <cx:pt idx="3144">178.69884848707801</cx:pt>
          <cx:pt idx="3145">178.69884848707801</cx:pt>
          <cx:pt idx="3146">178.69884848707801</cx:pt>
          <cx:pt idx="3147">178.69884848707801</cx:pt>
          <cx:pt idx="3148">178.69884848707801</cx:pt>
          <cx:pt idx="3149">178.69884848707801</cx:pt>
          <cx:pt idx="3150">178.56920617714019</cx:pt>
          <cx:pt idx="3151">178.56920617714019</cx:pt>
          <cx:pt idx="3152">178.56920617714019</cx:pt>
          <cx:pt idx="3153">178.56920617714019</cx:pt>
          <cx:pt idx="3154">178.36306380137026</cx:pt>
          <cx:pt idx="3155">178.00103675476925</cx:pt>
          <cx:pt idx="3156">178.00103675476925</cx:pt>
          <cx:pt idx="3157">177.82410039396399</cx:pt>
          <cx:pt idx="3158">177.82410039396399</cx:pt>
          <cx:pt idx="3159">177.82410039396399</cx:pt>
          <cx:pt idx="3160">177.82410039396399</cx:pt>
          <cx:pt idx="3161">177.82410039396399</cx:pt>
          <cx:pt idx="3162">177.82410039396399</cx:pt>
          <cx:pt idx="3163">177.82410039396399</cx:pt>
          <cx:pt idx="3164">177.82410039396399</cx:pt>
          <cx:pt idx="3165">177.82410039396399</cx:pt>
          <cx:pt idx="3166">177.82410039396399</cx:pt>
          <cx:pt idx="3167">177.82410039396399</cx:pt>
          <cx:pt idx="3168">177.82410039396399</cx:pt>
          <cx:pt idx="3169">177.82410039396399</cx:pt>
          <cx:pt idx="3170">177.82410039396399</cx:pt>
          <cx:pt idx="3171">177.82410039396399</cx:pt>
          <cx:pt idx="3172">177.82410039396399</cx:pt>
          <cx:pt idx="3173">177.82410039396399</cx:pt>
          <cx:pt idx="3174">177.82410039396399</cx:pt>
          <cx:pt idx="3175">177.82410039396399</cx:pt>
          <cx:pt idx="3176">177.82410039396399</cx:pt>
          <cx:pt idx="3177">177.82410039396399</cx:pt>
          <cx:pt idx="3178">177.82410039396399</cx:pt>
          <cx:pt idx="3179">177.82410039396399</cx:pt>
          <cx:pt idx="3180">177.82410039396399</cx:pt>
          <cx:pt idx="3181">177.52887210635851</cx:pt>
          <cx:pt idx="3182">177.52887210635851</cx:pt>
          <cx:pt idx="3183">177.52887210635851</cx:pt>
          <cx:pt idx="3184">177.52887210635851</cx:pt>
          <cx:pt idx="3185">177.52887210635851</cx:pt>
          <cx:pt idx="3186">177.52887210635851</cx:pt>
          <cx:pt idx="3187">177.35744011099436</cx:pt>
          <cx:pt idx="3188">177.32906263310835</cx:pt>
          <cx:pt idx="3189">177.32906263310835</cx:pt>
          <cx:pt idx="3190">177.05758894655276</cx:pt>
          <cx:pt idx="3191">176.93802685029968</cx:pt>
          <cx:pt idx="3192">176.79783387658858</cx:pt>
          <cx:pt idx="3193">176.79783387658858</cx:pt>
          <cx:pt idx="3194">176.58310595175726</cx:pt>
          <cx:pt idx="3195">176.41168221787834</cx:pt>
          <cx:pt idx="3196">176.41168221787834</cx:pt>
          <cx:pt idx="3197">176.41168221787834</cx:pt>
          <cx:pt idx="3198">176.37440232938721</cx:pt>
          <cx:pt idx="3199">176.37440232938721</cx:pt>
          <cx:pt idx="3200">176.23708178054849</cx:pt>
          <cx:pt idx="3201">176.0059722797366</cx:pt>
          <cx:pt idx="3202">176.0059722797366</cx:pt>
          <cx:pt idx="3203">176.0059722797366</cx:pt>
          <cx:pt idx="3204">176.0059722797366</cx:pt>
          <cx:pt idx="3205">176.0059722797366</cx:pt>
          <cx:pt idx="3206">176.0059722797366</cx:pt>
          <cx:pt idx="3207">176.0059722797366</cx:pt>
          <cx:pt idx="3208">176.0059722797366</cx:pt>
          <cx:pt idx="3209">176.0059722797366</cx:pt>
          <cx:pt idx="3210">176.0059722797366</cx:pt>
          <cx:pt idx="3211">176.0059722797366</cx:pt>
          <cx:pt idx="3212">176.0059722797366</cx:pt>
          <cx:pt idx="3213">176.0059722797366</cx:pt>
          <cx:pt idx="3214">175.96662309196665</cx:pt>
          <cx:pt idx="3215">175.96662309196665</cx:pt>
          <cx:pt idx="3216">175.78148844845967</cx:pt>
          <cx:pt idx="3217">175.78148844845967</cx:pt>
          <cx:pt idx="3218">175.78148844845967</cx:pt>
          <cx:pt idx="3219">175.78148844845967</cx:pt>
          <cx:pt idx="3220">175.72321265996166</cx:pt>
          <cx:pt idx="3221">175.48349518293142</cx:pt>
          <cx:pt idx="3222">175.48349518293142</cx:pt>
          <cx:pt idx="3223">175.48349518293142</cx:pt>
          <cx:pt idx="3224">175.45292083540571</cx:pt>
          <cx:pt idx="3225">175.4302038906086</cx:pt>
          <cx:pt idx="3226">175.27322543696633</cx:pt>
          <cx:pt idx="3227">175.27322543696633</cx:pt>
          <cx:pt idx="3228">175.27322543696633</cx:pt>
          <cx:pt idx="3229">175.27322543696633</cx:pt>
          <cx:pt idx="3230">175.27322543696633</cx:pt>
          <cx:pt idx="3231">175.27322543696633</cx:pt>
          <cx:pt idx="3232">175.27322543696633</cx:pt>
          <cx:pt idx="3233">175.27322543696633</cx:pt>
          <cx:pt idx="3234">175.27322543696633</cx:pt>
          <cx:pt idx="3235">175.27322543696633</cx:pt>
          <cx:pt idx="3236">175.27322543696633</cx:pt>
          <cx:pt idx="3237">175.27322543696633</cx:pt>
          <cx:pt idx="3238">175.27322543696633</cx:pt>
          <cx:pt idx="3239">175.27322543696633</cx:pt>
          <cx:pt idx="3240">175.27322543696633</cx:pt>
          <cx:pt idx="3241">175.22551365334098</cx:pt>
          <cx:pt idx="3242">175.01191925846001</cx:pt>
          <cx:pt idx="3243">175.0106636172834</cx:pt>
          <cx:pt idx="3244">174.68333765041001</cx:pt>
          <cx:pt idx="3245">174.4088710402585</cx:pt>
          <cx:pt idx="3246">174.4088710402585</cx:pt>
          <cx:pt idx="3247">174.4088710402585</cx:pt>
          <cx:pt idx="3248">174.4088710402585</cx:pt>
          <cx:pt idx="3249">174.31579246651</cx:pt>
          <cx:pt idx="3250">174.12590215618249</cx:pt>
          <cx:pt idx="3251">174.0500016448585</cx:pt>
          <cx:pt idx="3252">174.05000164485801</cx:pt>
          <cx:pt idx="3253">174.05000164485801</cx:pt>
          <cx:pt idx="3254">174.05000164485801</cx:pt>
          <cx:pt idx="3255">174.05000164485801</cx:pt>
          <cx:pt idx="3256">174.05000164485801</cx:pt>
          <cx:pt idx="3257">174.05000164485801</cx:pt>
          <cx:pt idx="3258">174.05000164485801</cx:pt>
          <cx:pt idx="3259">174.05000164485801</cx:pt>
          <cx:pt idx="3260">174.05000164485801</cx:pt>
          <cx:pt idx="3261">174.05000164485801</cx:pt>
          <cx:pt idx="3262">174.05000164485801</cx:pt>
          <cx:pt idx="3263">174.05000164485801</cx:pt>
          <cx:pt idx="3264">174.05000164485801</cx:pt>
          <cx:pt idx="3265">174.05000164485801</cx:pt>
          <cx:pt idx="3266">174.05000164485801</cx:pt>
          <cx:pt idx="3267">174.05000164485801</cx:pt>
          <cx:pt idx="3268">173.9662317122</cx:pt>
          <cx:pt idx="3269">173.9101413809164</cx:pt>
          <cx:pt idx="3270">173.84280908574331</cx:pt>
          <cx:pt idx="3271">173.84280908574331</cx:pt>
          <cx:pt idx="3272">173.74053179786571</cx:pt>
          <cx:pt idx="3273">173.57173561671326</cx:pt>
          <cx:pt idx="3274">173.57173561671326</cx:pt>
          <cx:pt idx="3275">173.4559663209462</cx:pt>
          <cx:pt idx="3276">173.4559663209462</cx:pt>
          <cx:pt idx="3277">172.94724067798333</cx:pt>
          <cx:pt idx="3278">172.7842122085996</cx:pt>
          <cx:pt idx="3279">172.7842122085996</cx:pt>
          <cx:pt idx="3280">172.7842122085996</cx:pt>
          <cx:pt idx="3281">172.76621268304274</cx:pt>
          <cx:pt idx="3282">172.75919554824375</cx:pt>
          <cx:pt idx="3283">172.72587408849375</cx:pt>
          <cx:pt idx="3284">172.66436475325634</cx:pt>
          <cx:pt idx="3285">172.66130134032301</cx:pt>
          <cx:pt idx="3286">172.66130134032301</cx:pt>
          <cx:pt idx="3287">172.66130134032301</cx:pt>
          <cx:pt idx="3288">172.66130134032301</cx:pt>
          <cx:pt idx="3289">172.66130134032301</cx:pt>
          <cx:pt idx="3290">172.66130134032301</cx:pt>
          <cx:pt idx="3291">172.66130134032301</cx:pt>
          <cx:pt idx="3292">172.66130134032301</cx:pt>
          <cx:pt idx="3293">172.66130134032301</cx:pt>
          <cx:pt idx="3294">172.66130134032301</cx:pt>
          <cx:pt idx="3295">172.66130134032301</cx:pt>
          <cx:pt idx="3296">172.66130134032301</cx:pt>
          <cx:pt idx="3297">172.66130134032301</cx:pt>
          <cx:pt idx="3298">172.66130134032301</cx:pt>
          <cx:pt idx="3299">172.66130134032301</cx:pt>
          <cx:pt idx="3300">172.66130134032301</cx:pt>
          <cx:pt idx="3301">172.66130134032301</cx:pt>
          <cx:pt idx="3302">172.66130134032301</cx:pt>
          <cx:pt idx="3303">172.66130134032301</cx:pt>
          <cx:pt idx="3304">172.66130134032301</cx:pt>
          <cx:pt idx="3305">172.66130134032301</cx:pt>
          <cx:pt idx="3306">172.66130134032301</cx:pt>
          <cx:pt idx="3307">172.66130134032301</cx:pt>
          <cx:pt idx="3308">172.66130134032301</cx:pt>
          <cx:pt idx="3309">172.66130134032301</cx:pt>
          <cx:pt idx="3310">172.66130134032301</cx:pt>
          <cx:pt idx="3311">172.66130134032301</cx:pt>
          <cx:pt idx="3312">172.66130134032301</cx:pt>
          <cx:pt idx="3313">172.66130134032301</cx:pt>
          <cx:pt idx="3314">172.66130134032301</cx:pt>
          <cx:pt idx="3315">172.66130134032301</cx:pt>
          <cx:pt idx="3316">172.66130134032301</cx:pt>
          <cx:pt idx="3317">172.66130134032301</cx:pt>
          <cx:pt idx="3318">172.66130134032301</cx:pt>
          <cx:pt idx="3319">172.66130134032301</cx:pt>
          <cx:pt idx="3320">172.66130134032301</cx:pt>
          <cx:pt idx="3321">172.66130134032301</cx:pt>
          <cx:pt idx="3322">172.66130134032301</cx:pt>
          <cx:pt idx="3323">172.66130134032301</cx:pt>
          <cx:pt idx="3324">172.66130134032301</cx:pt>
          <cx:pt idx="3325">172.46543951039399</cx:pt>
          <cx:pt idx="3326">172.42429933208001</cx:pt>
          <cx:pt idx="3327">172.20333673614468</cx:pt>
          <cx:pt idx="3328">172.20333673614468</cx:pt>
          <cx:pt idx="3329">172.20333673614468</cx:pt>
          <cx:pt idx="3330">172.20333673614468</cx:pt>
          <cx:pt idx="3331">172.20333673614468</cx:pt>
          <cx:pt idx="3332">172.05619583510821</cx:pt>
          <cx:pt idx="3333">172.05619583510821</cx:pt>
          <cx:pt idx="3334">172.05619583510821</cx:pt>
          <cx:pt idx="3335">172.05619583510821</cx:pt>
          <cx:pt idx="3336">172.05619583510821</cx:pt>
          <cx:pt idx="3337">172.02404192034831</cx:pt>
          <cx:pt idx="3338">171.91126346467732</cx:pt>
          <cx:pt idx="3339">171.840543873228</cx:pt>
          <cx:pt idx="3340">171.840543873228</cx:pt>
          <cx:pt idx="3341">171.840543873228</cx:pt>
          <cx:pt idx="3342">171.840543873228</cx:pt>
          <cx:pt idx="3343">171.840543873228</cx:pt>
          <cx:pt idx="3344">171.840543873228</cx:pt>
          <cx:pt idx="3345">171.840543873228</cx:pt>
          <cx:pt idx="3346">171.840543873228</cx:pt>
          <cx:pt idx="3347">171.840543873228</cx:pt>
          <cx:pt idx="3348">171.840543873228</cx:pt>
          <cx:pt idx="3349">171.840543873228</cx:pt>
          <cx:pt idx="3350">171.840543873228</cx:pt>
          <cx:pt idx="3351">171.840543873228</cx:pt>
          <cx:pt idx="3352">171.840543873228</cx:pt>
          <cx:pt idx="3353">171.840543873228</cx:pt>
          <cx:pt idx="3354">171.840543873228</cx:pt>
          <cx:pt idx="3355">171.840543873228</cx:pt>
          <cx:pt idx="3356">171.840543873228</cx:pt>
          <cx:pt idx="3357">171.64665221381767</cx:pt>
          <cx:pt idx="3358">171.64665221381767</cx:pt>
          <cx:pt idx="3359">171.64665221381767</cx:pt>
          <cx:pt idx="3360">171.64665221381767</cx:pt>
          <cx:pt idx="3361">171.64665221381767</cx:pt>
          <cx:pt idx="3362">171.64665221381767</cx:pt>
          <cx:pt idx="3363">171.64665221381767</cx:pt>
          <cx:pt idx="3364">171.64665221381767</cx:pt>
          <cx:pt idx="3365">171.64665221381767</cx:pt>
          <cx:pt idx="3366">171.64665221381767</cx:pt>
          <cx:pt idx="3367">171.64665221381767</cx:pt>
          <cx:pt idx="3368">171.64665221381767</cx:pt>
          <cx:pt idx="3369">171.64665221381767</cx:pt>
          <cx:pt idx="3370">171.4254975326534</cx:pt>
          <cx:pt idx="3371">170.943412293715</cx:pt>
          <cx:pt idx="3372">170.75138348034966</cx:pt>
          <cx:pt idx="3373">170.7168583662405</cx:pt>
          <cx:pt idx="3374">170.70114565438834</cx:pt>
          <cx:pt idx="3375">170.64212476456734</cx:pt>
          <cx:pt idx="3376">170.64212476456734</cx:pt>
          <cx:pt idx="3377">170.64212476456734</cx:pt>
          <cx:pt idx="3378">170.64212476456734</cx:pt>
          <cx:pt idx="3379">170.64212476456734</cx:pt>
          <cx:pt idx="3380">170.51287239151378</cx:pt>
          <cx:pt idx="3381">170.02397995343699</cx:pt>
          <cx:pt idx="3382">170.02397995343699</cx:pt>
          <cx:pt idx="3383">170.02397995343699</cx:pt>
          <cx:pt idx="3384">170.02397995343699</cx:pt>
          <cx:pt idx="3385">170.02397995343699</cx:pt>
          <cx:pt idx="3386">170.02397995343699</cx:pt>
          <cx:pt idx="3387">170.02397995343699</cx:pt>
          <cx:pt idx="3388">170.02397995343699</cx:pt>
          <cx:pt idx="3389">170.02397995343699</cx:pt>
          <cx:pt idx="3390">170.02397995343699</cx:pt>
          <cx:pt idx="3391">170.02397995343699</cx:pt>
          <cx:pt idx="3392">170.02397995343699</cx:pt>
          <cx:pt idx="3393">170.02397995343699</cx:pt>
          <cx:pt idx="3394">170.02397995343699</cx:pt>
          <cx:pt idx="3395">170.02397995343699</cx:pt>
          <cx:pt idx="3396">170.02397995343699</cx:pt>
          <cx:pt idx="3397">170.02397995343699</cx:pt>
          <cx:pt idx="3398">170.02397995343699</cx:pt>
          <cx:pt idx="3399">170.02397995343699</cx:pt>
          <cx:pt idx="3400">170.02397995343699</cx:pt>
          <cx:pt idx="3401">170.02397995343699</cx:pt>
          <cx:pt idx="3402">170.02397995343699</cx:pt>
          <cx:pt idx="3403">170.02397995343699</cx:pt>
          <cx:pt idx="3404">170.02397995343699</cx:pt>
          <cx:pt idx="3405">170.02397995343699</cx:pt>
          <cx:pt idx="3406">170.02397995343699</cx:pt>
          <cx:pt idx="3407">170.02397995343699</cx:pt>
          <cx:pt idx="3408">170.02397995343699</cx:pt>
          <cx:pt idx="3409">170.02397995343699</cx:pt>
          <cx:pt idx="3410">170.02397995343699</cx:pt>
          <cx:pt idx="3411">170.02397995343699</cx:pt>
          <cx:pt idx="3412">170.02397995343699</cx:pt>
          <cx:pt idx="3413">170.02397995343699</cx:pt>
          <cx:pt idx="3414">170.02397995343699</cx:pt>
          <cx:pt idx="3415">170.02397995343699</cx:pt>
          <cx:pt idx="3416">170.02397995343699</cx:pt>
          <cx:pt idx="3417">170.02397995343699</cx:pt>
          <cx:pt idx="3418">170.02397995343699</cx:pt>
          <cx:pt idx="3419">170.02397995343699</cx:pt>
          <cx:pt idx="3420">169.74320768596468</cx:pt>
          <cx:pt idx="3421">169.74320768596468</cx:pt>
          <cx:pt idx="3422">169.74320768596468</cx:pt>
          <cx:pt idx="3423">169.74320768596468</cx:pt>
          <cx:pt idx="3424">169.74320768596468</cx:pt>
          <cx:pt idx="3425">169.74320768596468</cx:pt>
          <cx:pt idx="3426">169.74320768596468</cx:pt>
          <cx:pt idx="3427">169.74320768596468</cx:pt>
          <cx:pt idx="3428">169.74320768596468</cx:pt>
          <cx:pt idx="3429">169.74320768596468</cx:pt>
          <cx:pt idx="3430">169.74320768596468</cx:pt>
          <cx:pt idx="3431">169.74320768596468</cx:pt>
          <cx:pt idx="3432">169.62061605361066</cx:pt>
          <cx:pt idx="3433">169.62061605361066</cx:pt>
          <cx:pt idx="3434">169.62061605361066</cx:pt>
          <cx:pt idx="3435">169.62061605361066</cx:pt>
          <cx:pt idx="3436">169.62061605361066</cx:pt>
          <cx:pt idx="3437">169.62061605361066</cx:pt>
          <cx:pt idx="3438">169.43060246737051</cx:pt>
          <cx:pt idx="3439">169.43060246737051</cx:pt>
          <cx:pt idx="3440">169.43060246737051</cx:pt>
          <cx:pt idx="3441">169.43060246737051</cx:pt>
          <cx:pt idx="3442">169.43060246737051</cx:pt>
          <cx:pt idx="3443">169.40991140774449</cx:pt>
          <cx:pt idx="3444">169.27080860521332</cx:pt>
          <cx:pt idx="3445">169.23540096478001</cx:pt>
          <cx:pt idx="3446">169.18166315101999</cx:pt>
          <cx:pt idx="3447">169.18166315101999</cx:pt>
          <cx:pt idx="3448">169.18166315101999</cx:pt>
          <cx:pt idx="3449">169.18166315101999</cx:pt>
          <cx:pt idx="3450">169.18166315101999</cx:pt>
          <cx:pt idx="3451">169.18166315101999</cx:pt>
          <cx:pt idx="3452">169.18166315101999</cx:pt>
          <cx:pt idx="3453">169.18166315101999</cx:pt>
          <cx:pt idx="3454">169.18166315101999</cx:pt>
          <cx:pt idx="3455">169.18166315101999</cx:pt>
          <cx:pt idx="3456">169.18166315101999</cx:pt>
          <cx:pt idx="3457">169.18166315101999</cx:pt>
          <cx:pt idx="3458">169.18166315101999</cx:pt>
          <cx:pt idx="3459">169.18166315101999</cx:pt>
          <cx:pt idx="3460">169.18166315101999</cx:pt>
          <cx:pt idx="3461">169.18166315101999</cx:pt>
          <cx:pt idx="3462">169.18166315101999</cx:pt>
          <cx:pt idx="3463">169.18166315101999</cx:pt>
          <cx:pt idx="3464">169.18166315101999</cx:pt>
          <cx:pt idx="3465">169.18166315101999</cx:pt>
          <cx:pt idx="3466">169.18166315101999</cx:pt>
          <cx:pt idx="3467">169.18166315101999</cx:pt>
          <cx:pt idx="3468">169.18166315101999</cx:pt>
          <cx:pt idx="3469">169.18166315101999</cx:pt>
          <cx:pt idx="3470">169.18166315101999</cx:pt>
          <cx:pt idx="3471">169.18166315101999</cx:pt>
          <cx:pt idx="3472">169.18166315101999</cx:pt>
          <cx:pt idx="3473">169.18166315101999</cx:pt>
          <cx:pt idx="3474">169.18166315101999</cx:pt>
          <cx:pt idx="3475">169.18166315101999</cx:pt>
          <cx:pt idx="3476">169.18166315101999</cx:pt>
          <cx:pt idx="3477">169.18166315101999</cx:pt>
          <cx:pt idx="3478">169.18166315101999</cx:pt>
          <cx:pt idx="3479">169.18166315101999</cx:pt>
          <cx:pt idx="3480">169.18166315101999</cx:pt>
          <cx:pt idx="3481">169.18166315101999</cx:pt>
          <cx:pt idx="3482">169.18166315101999</cx:pt>
          <cx:pt idx="3483">169.18166315101999</cx:pt>
          <cx:pt idx="3484">169.18166315101999</cx:pt>
          <cx:pt idx="3485">169.18166315101999</cx:pt>
          <cx:pt idx="3486">169.18166315101999</cx:pt>
          <cx:pt idx="3487">169.18166315101999</cx:pt>
          <cx:pt idx="3488">169.18166315101999</cx:pt>
          <cx:pt idx="3489">169.09784160876376</cx:pt>
          <cx:pt idx="3490">168.91716586826959</cx:pt>
          <cx:pt idx="3491">168.82134414474382</cx:pt>
          <cx:pt idx="3492">168.66786409202476</cx:pt>
          <cx:pt idx="3493">168.61083867121999</cx:pt>
          <cx:pt idx="3494">168.61083867121999</cx:pt>
          <cx:pt idx="3495">168.49667377526001</cx:pt>
          <cx:pt idx="3496">168.49667377526001</cx:pt>
          <cx:pt idx="3497">168.2470399461215</cx:pt>
          <cx:pt idx="3498">168.2470399461215</cx:pt>
          <cx:pt idx="3499">168.2470399461215</cx:pt>
          <cx:pt idx="3500">168.2470399461215</cx:pt>
          <cx:pt idx="3501">168.2470399461215</cx:pt>
          <cx:pt idx="3502">168.2470399461215</cx:pt>
          <cx:pt idx="3503">168.11484723071575</cx:pt>
          <cx:pt idx="3504">168.11484723071575</cx:pt>
          <cx:pt idx="3505">168.11053034583298</cx:pt>
          <cx:pt idx="3506">167.90860503823561</cx:pt>
          <cx:pt idx="3507">167.88909868024251</cx:pt>
          <cx:pt idx="3508">167.781422400727</cx:pt>
          <cx:pt idx="3509">167.781422400727</cx:pt>
          <cx:pt idx="3510">167.781422400727</cx:pt>
          <cx:pt idx="3511">167.781422400727</cx:pt>
          <cx:pt idx="3512">167.781422400727</cx:pt>
          <cx:pt idx="3513">167.781422400727</cx:pt>
          <cx:pt idx="3514">167.781422400727</cx:pt>
          <cx:pt idx="3515">167.781422400727</cx:pt>
          <cx:pt idx="3516">167.781422400727</cx:pt>
          <cx:pt idx="3517">167.66665878015166</cx:pt>
          <cx:pt idx="3518">167.66665878015166</cx:pt>
          <cx:pt idx="3519">167.66665878015166</cx:pt>
          <cx:pt idx="3520">167.66665878015166</cx:pt>
          <cx:pt idx="3521">167.66665878015166</cx:pt>
          <cx:pt idx="3522">167.66665878015166</cx:pt>
          <cx:pt idx="3523">167.66665878015166</cx:pt>
          <cx:pt idx="3524">167.66665878015166</cx:pt>
          <cx:pt idx="3525">167.66665878015166</cx:pt>
          <cx:pt idx="3526">167.66665878015166</cx:pt>
          <cx:pt idx="3527">167.66665878015166</cx:pt>
          <cx:pt idx="3528">167.66665878015166</cx:pt>
          <cx:pt idx="3529">167.66665878015166</cx:pt>
          <cx:pt idx="3530">167.66665878015166</cx:pt>
          <cx:pt idx="3531">167.66665878015166</cx:pt>
          <cx:pt idx="3532">167.66665878015166</cx:pt>
          <cx:pt idx="3533">167.66665878015166</cx:pt>
          <cx:pt idx="3534">167.66665878015166</cx:pt>
          <cx:pt idx="3535">167.48661789543425</cx:pt>
          <cx:pt idx="3536">167.41430745954801</cx:pt>
          <cx:pt idx="3537">167.41430745954801</cx:pt>
          <cx:pt idx="3538">167.41430745954801</cx:pt>
          <cx:pt idx="3539">167.41430745954801</cx:pt>
          <cx:pt idx="3540">167.41430745954801</cx:pt>
          <cx:pt idx="3541">167.41430745954801</cx:pt>
          <cx:pt idx="3542">167.41430745954801</cx:pt>
          <cx:pt idx="3543">167.41430745954801</cx:pt>
          <cx:pt idx="3544">167.41430745954801</cx:pt>
          <cx:pt idx="3545">167.41430745954801</cx:pt>
          <cx:pt idx="3546">167.41430745954801</cx:pt>
          <cx:pt idx="3547">167.41430745954801</cx:pt>
          <cx:pt idx="3548">167.41430745954801</cx:pt>
          <cx:pt idx="3549">167.41430745954801</cx:pt>
          <cx:pt idx="3550">167.41430745954801</cx:pt>
          <cx:pt idx="3551">167.41430745954801</cx:pt>
          <cx:pt idx="3552">167.33694811302351</cx:pt>
          <cx:pt idx="3553">167.085994792565</cx:pt>
          <cx:pt idx="3554">167.085994792565</cx:pt>
          <cx:pt idx="3555">167.085994792565</cx:pt>
          <cx:pt idx="3556">167.085994792565</cx:pt>
          <cx:pt idx="3557">167.085994792565</cx:pt>
          <cx:pt idx="3558">167.085994792565</cx:pt>
          <cx:pt idx="3559">167.085994792565</cx:pt>
          <cx:pt idx="3560">167.085994792565</cx:pt>
          <cx:pt idx="3561">167.085994792565</cx:pt>
          <cx:pt idx="3562">167.085994792565</cx:pt>
          <cx:pt idx="3563">167.085994792565</cx:pt>
          <cx:pt idx="3564">167.085994792565</cx:pt>
          <cx:pt idx="3565">167.085994792565</cx:pt>
          <cx:pt idx="3566">167.085994792565</cx:pt>
          <cx:pt idx="3567">167.085994792565</cx:pt>
          <cx:pt idx="3568">167.085994792565</cx:pt>
          <cx:pt idx="3569">167.085994792565</cx:pt>
          <cx:pt idx="3570">167.085994792565</cx:pt>
          <cx:pt idx="3571">167.085994792565</cx:pt>
          <cx:pt idx="3572">167.085994792565</cx:pt>
          <cx:pt idx="3573">167.05082920186501</cx:pt>
          <cx:pt idx="3574">167.03465901706198</cx:pt>
          <cx:pt idx="3575">167.03465901706198</cx:pt>
          <cx:pt idx="3576">166.63065368278001</cx:pt>
          <cx:pt idx="3577">166.63065368278001</cx:pt>
          <cx:pt idx="3578">166.63065368278001</cx:pt>
          <cx:pt idx="3579">166.63065368278001</cx:pt>
          <cx:pt idx="3580">166.63065368278001</cx:pt>
          <cx:pt idx="3581">166.63065368278001</cx:pt>
          <cx:pt idx="3582">166.63065368278001</cx:pt>
          <cx:pt idx="3583">166.63065368278001</cx:pt>
          <cx:pt idx="3584">166.63065368278001</cx:pt>
          <cx:pt idx="3585">166.63065368278001</cx:pt>
          <cx:pt idx="3586">166.63065368278001</cx:pt>
          <cx:pt idx="3587">166.63065368278001</cx:pt>
          <cx:pt idx="3588">166.63065368278001</cx:pt>
          <cx:pt idx="3589">166.63065368278001</cx:pt>
          <cx:pt idx="3590">166.63065368278001</cx:pt>
          <cx:pt idx="3591">166.63065368278001</cx:pt>
          <cx:pt idx="3592">166.63065368278001</cx:pt>
          <cx:pt idx="3593">166.63065368278001</cx:pt>
          <cx:pt idx="3594">166.6089329187146</cx:pt>
          <cx:pt idx="3595">166.593134770257</cx:pt>
          <cx:pt idx="3596">166.55908600734199</cx:pt>
          <cx:pt idx="3597">166.40773012027</cx:pt>
          <cx:pt idx="3598">166.40567918648429</cx:pt>
          <cx:pt idx="3599">166.31366627178201</cx:pt>
          <cx:pt idx="3600">166.31366627178201</cx:pt>
          <cx:pt idx="3601">166.31366627178201</cx:pt>
          <cx:pt idx="3602">166.31366627178201</cx:pt>
          <cx:pt idx="3603">166.19360298000601</cx:pt>
          <cx:pt idx="3604">165.64070087142468</cx:pt>
          <cx:pt idx="3605">165.64070087142468</cx:pt>
          <cx:pt idx="3606">165.64070087142468</cx:pt>
          <cx:pt idx="3607">165.64070087142468</cx:pt>
          <cx:pt idx="3608">165.64070087142468</cx:pt>
          <cx:pt idx="3609">165.64070087142468</cx:pt>
          <cx:pt idx="3610">165.64070087142468</cx:pt>
          <cx:pt idx="3611">165.64070087142468</cx:pt>
          <cx:pt idx="3612">165.64070087142468</cx:pt>
          <cx:pt idx="3613">165.64070087142468</cx:pt>
          <cx:pt idx="3614">165.64070087142468</cx:pt>
          <cx:pt idx="3615">165.64070087142468</cx:pt>
          <cx:pt idx="3616">165.64070087142468</cx:pt>
          <cx:pt idx="3617">165.64070087142468</cx:pt>
          <cx:pt idx="3618">165.64070087142468</cx:pt>
          <cx:pt idx="3619">165.64070087142468</cx:pt>
          <cx:pt idx="3620">165.64070087142468</cx:pt>
          <cx:pt idx="3621">165.64070087142468</cx:pt>
          <cx:pt idx="3622">165.64070087142468</cx:pt>
          <cx:pt idx="3623">165.64070087142468</cx:pt>
          <cx:pt idx="3624">165.64070087142468</cx:pt>
          <cx:pt idx="3625">165.64070087142468</cx:pt>
          <cx:pt idx="3626">165.64070087142468</cx:pt>
          <cx:pt idx="3627">165.63229014765429</cx:pt>
          <cx:pt idx="3628">165.63229014765429</cx:pt>
          <cx:pt idx="3629">165.63229014765429</cx:pt>
          <cx:pt idx="3630">165.59501601967824</cx:pt>
          <cx:pt idx="3631">165.59501601967824</cx:pt>
          <cx:pt idx="3632">165.33557247800033</cx:pt>
          <cx:pt idx="3633">165.33557247800033</cx:pt>
          <cx:pt idx="3634">165.33557247800033</cx:pt>
          <cx:pt idx="3635">165.31346618819001</cx:pt>
          <cx:pt idx="3636">164.86873622005035</cx:pt>
          <cx:pt idx="3637">164.86873622005035</cx:pt>
          <cx:pt idx="3638">164.86873622005035</cx:pt>
          <cx:pt idx="3639">164.86873622005035</cx:pt>
          <cx:pt idx="3640">164.821296447089</cx:pt>
          <cx:pt idx="3641">164.77312589958001</cx:pt>
          <cx:pt idx="3642">164.77312589958001</cx:pt>
          <cx:pt idx="3643">164.77312589958001</cx:pt>
          <cx:pt idx="3644">164.74101742072401</cx:pt>
          <cx:pt idx="3645">164.58076041477767</cx:pt>
          <cx:pt idx="3646">164.58076041477767</cx:pt>
          <cx:pt idx="3647">164.58076041477767</cx:pt>
          <cx:pt idx="3648">164.58076041477767</cx:pt>
          <cx:pt idx="3649">164.58076041477767</cx:pt>
          <cx:pt idx="3650">164.58076041477767</cx:pt>
          <cx:pt idx="3651">164.58076041477767</cx:pt>
          <cx:pt idx="3652">164.58076041477767</cx:pt>
          <cx:pt idx="3653">164.58076041477767</cx:pt>
          <cx:pt idx="3654">164.58076041477767</cx:pt>
          <cx:pt idx="3655">164.58076041477767</cx:pt>
          <cx:pt idx="3656">164.58076041477767</cx:pt>
          <cx:pt idx="3657">164.30523357975716</cx:pt>
          <cx:pt idx="3658">164.29662010221034</cx:pt>
          <cx:pt idx="3659">164.156159767372</cx:pt>
          <cx:pt idx="3660">164.156159767372</cx:pt>
          <cx:pt idx="3661">164.107926795259</cx:pt>
          <cx:pt idx="3662">164.107926795259</cx:pt>
          <cx:pt idx="3663">164.107926795259</cx:pt>
          <cx:pt idx="3664">163.89360792898302</cx:pt>
          <cx:pt idx="3665">163.80986977098149</cx:pt>
          <cx:pt idx="3666">163.75305076423066</cx:pt>
          <cx:pt idx="3667">163.75305076423066</cx:pt>
          <cx:pt idx="3668">163.56820968018741</cx:pt>
          <cx:pt idx="3669">163.52041260289101</cx:pt>
          <cx:pt idx="3670">163.52041260289101</cx:pt>
          <cx:pt idx="3671">163.52041260289101</cx:pt>
          <cx:pt idx="3672">163.52041260289101</cx:pt>
          <cx:pt idx="3673">163.52041260289101</cx:pt>
          <cx:pt idx="3674">163.52041260289101</cx:pt>
          <cx:pt idx="3675">163.52041260289101</cx:pt>
          <cx:pt idx="3676">163.52041260289101</cx:pt>
          <cx:pt idx="3677">163.52041260289101</cx:pt>
          <cx:pt idx="3678">163.52041260289101</cx:pt>
          <cx:pt idx="3679">163.52041260289101</cx:pt>
          <cx:pt idx="3680">163.52041260289101</cx:pt>
          <cx:pt idx="3681">163.52041260289101</cx:pt>
          <cx:pt idx="3682">163.52041260289101</cx:pt>
          <cx:pt idx="3683">163.52041260289101</cx:pt>
          <cx:pt idx="3684">163.52041260289101</cx:pt>
          <cx:pt idx="3685">163.52041260289101</cx:pt>
          <cx:pt idx="3686">163.52041260289101</cx:pt>
          <cx:pt idx="3687">163.52041260289101</cx:pt>
          <cx:pt idx="3688">163.52041260289101</cx:pt>
          <cx:pt idx="3689">163.52041260289101</cx:pt>
          <cx:pt idx="3690">163.52041260289101</cx:pt>
          <cx:pt idx="3691">163.52041260289101</cx:pt>
          <cx:pt idx="3692">163.52041260289101</cx:pt>
          <cx:pt idx="3693">163.52041260289101</cx:pt>
          <cx:pt idx="3694">163.50386482051249</cx:pt>
          <cx:pt idx="3695">163.50386482051249</cx:pt>
          <cx:pt idx="3696">163.50386482051249</cx:pt>
          <cx:pt idx="3697">163.50386482051249</cx:pt>
          <cx:pt idx="3698">163.50386482051249</cx:pt>
          <cx:pt idx="3699">163.50386482051249</cx:pt>
          <cx:pt idx="3700">163.50386482051249</cx:pt>
          <cx:pt idx="3701">163.50386482051249</cx:pt>
          <cx:pt idx="3702">163.50386482051249</cx:pt>
          <cx:pt idx="3703">163.50386482051249</cx:pt>
          <cx:pt idx="3704">163.50386482051249</cx:pt>
          <cx:pt idx="3705">163.50386482051249</cx:pt>
          <cx:pt idx="3706">163.50386482051249</cx:pt>
          <cx:pt idx="3707">163.50386482051249</cx:pt>
          <cx:pt idx="3708">163.50386482051249</cx:pt>
          <cx:pt idx="3709">163.50386482051249</cx:pt>
          <cx:pt idx="3710">163.17189131256976</cx:pt>
          <cx:pt idx="3711">162.94006352385</cx:pt>
          <cx:pt idx="3712">162.94006352385</cx:pt>
          <cx:pt idx="3713">162.94006352385</cx:pt>
          <cx:pt idx="3714">162.94006352385</cx:pt>
          <cx:pt idx="3715">162.94006352385</cx:pt>
          <cx:pt idx="3716">162.94006352385</cx:pt>
          <cx:pt idx="3717">162.94006352385</cx:pt>
          <cx:pt idx="3718">162.94006352385</cx:pt>
          <cx:pt idx="3719">162.41285281094375</cx:pt>
          <cx:pt idx="3720">162.28854322820749</cx:pt>
          <cx:pt idx="3721">162.22318381847126</cx:pt>
          <cx:pt idx="3722">162.12722185234574</cx:pt>
          <cx:pt idx="3723">162.12722185234574</cx:pt>
          <cx:pt idx="3724">162.12722185234574</cx:pt>
          <cx:pt idx="3725">162.12722185234574</cx:pt>
          <cx:pt idx="3726">161.80137137353199</cx:pt>
          <cx:pt idx="3727">161.6843038012575</cx:pt>
          <cx:pt idx="3728">161.62308198555226</cx:pt>
          <cx:pt idx="3729">161.56994006107925</cx:pt>
          <cx:pt idx="3730">161.56994006107925</cx:pt>
          <cx:pt idx="3731">161.56994006107925</cx:pt>
          <cx:pt idx="3732">161.56994006107925</cx:pt>
          <cx:pt idx="3733">161.56994006107925</cx:pt>
          <cx:pt idx="3734">161.56994006107925</cx:pt>
          <cx:pt idx="3735">161.56994006107925</cx:pt>
          <cx:pt idx="3736">161.56994006107925</cx:pt>
          <cx:pt idx="3737">161.56994006107925</cx:pt>
          <cx:pt idx="3738">161.56994006107925</cx:pt>
          <cx:pt idx="3739">161.56994006107925</cx:pt>
          <cx:pt idx="3740">161.56994006107925</cx:pt>
          <cx:pt idx="3741">161.56994006107925</cx:pt>
          <cx:pt idx="3742">161.56994006107925</cx:pt>
          <cx:pt idx="3743">161.56994006107925</cx:pt>
          <cx:pt idx="3744">161.56994006107925</cx:pt>
          <cx:pt idx="3745">161.177355767466</cx:pt>
          <cx:pt idx="3746">161.15888046685899</cx:pt>
          <cx:pt idx="3747">161.15888046685899</cx:pt>
          <cx:pt idx="3748">161.15888046685899</cx:pt>
          <cx:pt idx="3749">161.15888046685899</cx:pt>
          <cx:pt idx="3750">161.15888046685899</cx:pt>
          <cx:pt idx="3751">161.15888046685899</cx:pt>
          <cx:pt idx="3752">161.15888046685899</cx:pt>
          <cx:pt idx="3753">161.08534200929031</cx:pt>
          <cx:pt idx="3754">161.08534200929031</cx:pt>
          <cx:pt idx="3755">160.88677670810634</cx:pt>
          <cx:pt idx="3756">160.80380162228175</cx:pt>
          <cx:pt idx="3757">160.69645275187571</cx:pt>
          <cx:pt idx="3758">160.52314775076101</cx:pt>
          <cx:pt idx="3759">160.52314775076101</cx:pt>
          <cx:pt idx="3760">160.43845221552525</cx:pt>
          <cx:pt idx="3761">160.43845221552525</cx:pt>
          <cx:pt idx="3762">160.43845221552525</cx:pt>
          <cx:pt idx="3763">160.152138572658</cx:pt>
          <cx:pt idx="3764">160.152138572658</cx:pt>
          <cx:pt idx="3765">160.152138572658</cx:pt>
          <cx:pt idx="3766">160.152138572658</cx:pt>
          <cx:pt idx="3767">160.152138572658</cx:pt>
          <cx:pt idx="3768">160.152138572658</cx:pt>
          <cx:pt idx="3769">160.152138572658</cx:pt>
          <cx:pt idx="3770">160.152138572658</cx:pt>
          <cx:pt idx="3771">160.152138572658</cx:pt>
          <cx:pt idx="3772">160.152138572658</cx:pt>
          <cx:pt idx="3773">160.152138572658</cx:pt>
          <cx:pt idx="3774">160.152138572658</cx:pt>
          <cx:pt idx="3775">160.152138572658</cx:pt>
          <cx:pt idx="3776">160.152138572658</cx:pt>
          <cx:pt idx="3777">160.152138572658</cx:pt>
          <cx:pt idx="3778">160.152138572658</cx:pt>
          <cx:pt idx="3779">160.152138572658</cx:pt>
          <cx:pt idx="3780">160.152138572658</cx:pt>
          <cx:pt idx="3781">160.152138572658</cx:pt>
          <cx:pt idx="3782">160.152138572658</cx:pt>
          <cx:pt idx="3783">159.80669324601368</cx:pt>
          <cx:pt idx="3784">159.80669324601368</cx:pt>
          <cx:pt idx="3785">159.80669324601368</cx:pt>
          <cx:pt idx="3786">159.80669324601368</cx:pt>
          <cx:pt idx="3787">159.80669324601368</cx:pt>
          <cx:pt idx="3788">159.80669324601368</cx:pt>
          <cx:pt idx="3789">159.80669324601368</cx:pt>
          <cx:pt idx="3790">159.80669324601368</cx:pt>
          <cx:pt idx="3791">159.80669324601368</cx:pt>
          <cx:pt idx="3792">159.80669324601368</cx:pt>
          <cx:pt idx="3793">159.80669324601368</cx:pt>
          <cx:pt idx="3794">159.80669324601368</cx:pt>
          <cx:pt idx="3795">159.80669324601368</cx:pt>
          <cx:pt idx="3796">159.80669324601368</cx:pt>
          <cx:pt idx="3797">159.80669324601368</cx:pt>
          <cx:pt idx="3798">159.80669324601368</cx:pt>
          <cx:pt idx="3799">159.80669324601368</cx:pt>
          <cx:pt idx="3800">159.80669324601368</cx:pt>
          <cx:pt idx="3801">159.80669324601368</cx:pt>
          <cx:pt idx="3802">159.70419217106101</cx:pt>
          <cx:pt idx="3803">159.69057625575002</cx:pt>
          <cx:pt idx="3804">159.69057625575002</cx:pt>
          <cx:pt idx="3805">159.69057625575002</cx:pt>
          <cx:pt idx="3806">159.69057625575002</cx:pt>
          <cx:pt idx="3807">159.69057625575002</cx:pt>
          <cx:pt idx="3808">159.69057625575002</cx:pt>
          <cx:pt idx="3809">159.69057625575002</cx:pt>
          <cx:pt idx="3810">159.69057625575002</cx:pt>
          <cx:pt idx="3811">159.69057625575002</cx:pt>
          <cx:pt idx="3812">159.69057625575002</cx:pt>
          <cx:pt idx="3813">159.69057625575002</cx:pt>
          <cx:pt idx="3814">159.69057625575002</cx:pt>
          <cx:pt idx="3815">159.69057625575002</cx:pt>
          <cx:pt idx="3816">159.657568749565</cx:pt>
          <cx:pt idx="3817">159.49030365041284</cx:pt>
          <cx:pt idx="3818">159.42084818894287</cx:pt>
          <cx:pt idx="3819">159.39347174707251</cx:pt>
          <cx:pt idx="3820">159.12236724478376</cx:pt>
          <cx:pt idx="3821">159.12236724478376</cx:pt>
          <cx:pt idx="3822">159.12236724478376</cx:pt>
          <cx:pt idx="3823">159.12236724478376</cx:pt>
          <cx:pt idx="3824">159.12236724478376</cx:pt>
          <cx:pt idx="3825">159.12236724478376</cx:pt>
          <cx:pt idx="3826">159.12236724478376</cx:pt>
          <cx:pt idx="3827">159.12236724478376</cx:pt>
          <cx:pt idx="3828">159.12236724478376</cx:pt>
          <cx:pt idx="3829">159.12236724478376</cx:pt>
          <cx:pt idx="3830">159.12236724478376</cx:pt>
          <cx:pt idx="3831">159.12236724478376</cx:pt>
          <cx:pt idx="3832">159.12236724478376</cx:pt>
          <cx:pt idx="3833">158.88620467845999</cx:pt>
          <cx:pt idx="3834">158.88620467845999</cx:pt>
          <cx:pt idx="3835">158.88620467845999</cx:pt>
          <cx:pt idx="3836">158.88620467845999</cx:pt>
          <cx:pt idx="3837">158.88620467845999</cx:pt>
          <cx:pt idx="3838">158.88620467845999</cx:pt>
          <cx:pt idx="3839">158.88620467845999</cx:pt>
          <cx:pt idx="3840">158.88620467845999</cx:pt>
          <cx:pt idx="3841">158.88620467845999</cx:pt>
          <cx:pt idx="3842">158.88620467845999</cx:pt>
          <cx:pt idx="3843">158.88620467845999</cx:pt>
          <cx:pt idx="3844">158.88620467845999</cx:pt>
          <cx:pt idx="3845">158.88620467845999</cx:pt>
          <cx:pt idx="3846">158.88620467845999</cx:pt>
          <cx:pt idx="3847">158.88620467845999</cx:pt>
          <cx:pt idx="3848">158.88620467845999</cx:pt>
          <cx:pt idx="3849">158.88620467845999</cx:pt>
          <cx:pt idx="3850">158.78846242368934</cx:pt>
          <cx:pt idx="3851">158.78846242368934</cx:pt>
          <cx:pt idx="3852">158.78846242368934</cx:pt>
          <cx:pt idx="3853">158.78846242368934</cx:pt>
          <cx:pt idx="3854">158.78846242368934</cx:pt>
          <cx:pt idx="3855">158.78846242368934</cx:pt>
          <cx:pt idx="3856">158.66294046908601</cx:pt>
          <cx:pt idx="3857">158.66294046908601</cx:pt>
          <cx:pt idx="3858">158.66294046908601</cx:pt>
          <cx:pt idx="3859">158.66294046908601</cx:pt>
          <cx:pt idx="3860">158.66294046908601</cx:pt>
          <cx:pt idx="3861">158.66294046908601</cx:pt>
          <cx:pt idx="3862">158.66294046908601</cx:pt>
          <cx:pt idx="3863">158.66294046908601</cx:pt>
          <cx:pt idx="3864">158.66294046908601</cx:pt>
          <cx:pt idx="3865">158.37028680713419</cx:pt>
          <cx:pt idx="3866">158.37028680713419</cx:pt>
          <cx:pt idx="3867">158.22263563727842</cx:pt>
          <cx:pt idx="3868">158.22263563727842</cx:pt>
          <cx:pt idx="3869">157.94340371476218</cx:pt>
          <cx:pt idx="3870">157.93194215581326</cx:pt>
          <cx:pt idx="3871">157.93194215581326</cx:pt>
          <cx:pt idx="3872">157.93194215581326</cx:pt>
          <cx:pt idx="3873">157.90895534302101</cx:pt>
          <cx:pt idx="3874">157.90895534302101</cx:pt>
          <cx:pt idx="3875">157.90895534302101</cx:pt>
          <cx:pt idx="3876">157.90895534302101</cx:pt>
          <cx:pt idx="3877">157.90895534302101</cx:pt>
          <cx:pt idx="3878">157.90895534302101</cx:pt>
          <cx:pt idx="3879">157.90895534302101</cx:pt>
          <cx:pt idx="3880">157.90895534302101</cx:pt>
          <cx:pt idx="3881">157.90895534302101</cx:pt>
          <cx:pt idx="3882">157.90895534302101</cx:pt>
          <cx:pt idx="3883">157.90895534302101</cx:pt>
          <cx:pt idx="3884">157.90895534302101</cx:pt>
          <cx:pt idx="3885">157.90895534302101</cx:pt>
          <cx:pt idx="3886">157.90895534302101</cx:pt>
          <cx:pt idx="3887">157.90895534302101</cx:pt>
          <cx:pt idx="3888">157.57890566899667</cx:pt>
          <cx:pt idx="3889">157.57890566899667</cx:pt>
          <cx:pt idx="3890">157.57890566899667</cx:pt>
          <cx:pt idx="3891">157.57890566899667</cx:pt>
          <cx:pt idx="3892">157.57890566899667</cx:pt>
          <cx:pt idx="3893">157.57890566899667</cx:pt>
          <cx:pt idx="3894">157.57890566899667</cx:pt>
          <cx:pt idx="3895">157.57890566899667</cx:pt>
          <cx:pt idx="3896">157.57890566899667</cx:pt>
          <cx:pt idx="3897">157.57890566899667</cx:pt>
          <cx:pt idx="3898">157.57890566899667</cx:pt>
          <cx:pt idx="3899">157.57890566899667</cx:pt>
          <cx:pt idx="3900">157.57890566899667</cx:pt>
          <cx:pt idx="3901">157.57890566899667</cx:pt>
          <cx:pt idx="3902">157.57890566899667</cx:pt>
          <cx:pt idx="3903">157.57890566899667</cx:pt>
          <cx:pt idx="3904">157.54502875591024</cx:pt>
          <cx:pt idx="3905">157.54502875591024</cx:pt>
          <cx:pt idx="3906">157.54502875591024</cx:pt>
          <cx:pt idx="3907">157.39273934326499</cx:pt>
          <cx:pt idx="3908">157.39273934326499</cx:pt>
          <cx:pt idx="3909">157.39273934326499</cx:pt>
          <cx:pt idx="3910">157.36157858639851</cx:pt>
          <cx:pt idx="3911">157.10020073836799</cx:pt>
          <cx:pt idx="3912">156.899295664032</cx:pt>
          <cx:pt idx="3913">156.75925898764126</cx:pt>
          <cx:pt idx="3914">156.61863588912144</cx:pt>
          <cx:pt idx="3915">156.59591312841459</cx:pt>
          <cx:pt idx="3916">156.59591312841459</cx:pt>
          <cx:pt idx="3917">156.59591312841459</cx:pt>
          <cx:pt idx="3918">156.59591312841459</cx:pt>
          <cx:pt idx="3919">156.53677997357599</cx:pt>
          <cx:pt idx="3920">156.53677997357599</cx:pt>
          <cx:pt idx="3921">156.53677997357599</cx:pt>
          <cx:pt idx="3922">156.53677997357599</cx:pt>
          <cx:pt idx="3923">156.53677997357599</cx:pt>
          <cx:pt idx="3924">156.53677997357599</cx:pt>
          <cx:pt idx="3925">156.53677997357599</cx:pt>
          <cx:pt idx="3926">156.53677997357599</cx:pt>
          <cx:pt idx="3927">156.53677997357599</cx:pt>
          <cx:pt idx="3928">156.53677997357599</cx:pt>
          <cx:pt idx="3929">156.53677997357599</cx:pt>
          <cx:pt idx="3930">156.53677997357599</cx:pt>
          <cx:pt idx="3931">156.53677997357599</cx:pt>
          <cx:pt idx="3932">156.53677997357599</cx:pt>
          <cx:pt idx="3933">156.53677997357599</cx:pt>
          <cx:pt idx="3934">156.53677997357599</cx:pt>
          <cx:pt idx="3935">156.53677997357599</cx:pt>
          <cx:pt idx="3936">156.53677997357599</cx:pt>
          <cx:pt idx="3937">156.53677997357599</cx:pt>
          <cx:pt idx="3938">156.53677997357599</cx:pt>
          <cx:pt idx="3939">156.53677997357599</cx:pt>
          <cx:pt idx="3940">156.53677997357599</cx:pt>
          <cx:pt idx="3941">156.53677997357599</cx:pt>
          <cx:pt idx="3942">156.35040835479259</cx:pt>
          <cx:pt idx="3943">156.09548238182501</cx:pt>
          <cx:pt idx="3944">156.09548238182501</cx:pt>
          <cx:pt idx="3945">156.01939846431401</cx:pt>
          <cx:pt idx="3946">156.01939846431401</cx:pt>
          <cx:pt idx="3947">156.01939846431401</cx:pt>
          <cx:pt idx="3948">155.969412435767</cx:pt>
          <cx:pt idx="3949">155.794527266145</cx:pt>
          <cx:pt idx="3950">155.67010219941571</cx:pt>
          <cx:pt idx="3951">154.9970404222785</cx:pt>
          <cx:pt idx="3952">154.9970404222785</cx:pt>
          <cx:pt idx="3953">154.9970404222785</cx:pt>
          <cx:pt idx="3954">154.9970404222785</cx:pt>
          <cx:pt idx="3955">154.9970404222785</cx:pt>
          <cx:pt idx="3956">154.9970404222785</cx:pt>
          <cx:pt idx="3957">154.4816387168315</cx:pt>
          <cx:pt idx="3958">154.4816387168315</cx:pt>
          <cx:pt idx="3959">154.4816206102175</cx:pt>
          <cx:pt idx="3960">154.13599247535751</cx:pt>
          <cx:pt idx="3961">154.06515168353999</cx:pt>
          <cx:pt idx="3962">154.06515168353999</cx:pt>
          <cx:pt idx="3963">154.06515168353999</cx:pt>
          <cx:pt idx="3964">154.06515168353999</cx:pt>
          <cx:pt idx="3965">154.06515168353999</cx:pt>
          <cx:pt idx="3966">154.06515168353999</cx:pt>
          <cx:pt idx="3967">154.06515168353999</cx:pt>
          <cx:pt idx="3968">154.06515168353999</cx:pt>
          <cx:pt idx="3969">153.96434681962776</cx:pt>
          <cx:pt idx="3970">153.95330105457001</cx:pt>
          <cx:pt idx="3971">153.95330105457001</cx:pt>
          <cx:pt idx="3972">153.95330105457001</cx:pt>
          <cx:pt idx="3973">153.95330105457001</cx:pt>
          <cx:pt idx="3974">153.95330105457001</cx:pt>
          <cx:pt idx="3975">153.95330105457001</cx:pt>
          <cx:pt idx="3976">153.95330105457001</cx:pt>
          <cx:pt idx="3977">153.95330105457001</cx:pt>
          <cx:pt idx="3978">153.95330105457001</cx:pt>
          <cx:pt idx="3979">153.95330105457001</cx:pt>
          <cx:pt idx="3980">153.95330105457001</cx:pt>
          <cx:pt idx="3981">153.95330105457001</cx:pt>
          <cx:pt idx="3982">153.95330105457001</cx:pt>
          <cx:pt idx="3983">153.95330105457001</cx:pt>
          <cx:pt idx="3984">153.95330105457001</cx:pt>
          <cx:pt idx="3985">153.95330105457001</cx:pt>
          <cx:pt idx="3986">153.95330105457001</cx:pt>
          <cx:pt idx="3987">153.95330105457001</cx:pt>
          <cx:pt idx="3988">153.95330105457001</cx:pt>
          <cx:pt idx="3989">153.95330105457001</cx:pt>
          <cx:pt idx="3990">153.95330105457001</cx:pt>
          <cx:pt idx="3991">153.95330105457001</cx:pt>
          <cx:pt idx="3992">153.95330105457001</cx:pt>
          <cx:pt idx="3993">153.95330105457001</cx:pt>
          <cx:pt idx="3994">153.95330105457001</cx:pt>
          <cx:pt idx="3995">153.950610515676</cx:pt>
          <cx:pt idx="3996">153.950610515676</cx:pt>
          <cx:pt idx="3997">153.950610515676</cx:pt>
          <cx:pt idx="3998">153.950610515676</cx:pt>
          <cx:pt idx="3999">153.950610515676</cx:pt>
          <cx:pt idx="4000">153.950610515676</cx:pt>
          <cx:pt idx="4001">153.950610515676</cx:pt>
          <cx:pt idx="4002">153.950610515676</cx:pt>
          <cx:pt idx="4003">153.950610515676</cx:pt>
          <cx:pt idx="4004">153.950610515676</cx:pt>
          <cx:pt idx="4005">153.950610515676</cx:pt>
          <cx:pt idx="4006">153.950610515676</cx:pt>
          <cx:pt idx="4007">153.950610515676</cx:pt>
          <cx:pt idx="4008">153.950610515676</cx:pt>
          <cx:pt idx="4009">153.950610515676</cx:pt>
          <cx:pt idx="4010">153.950610515676</cx:pt>
          <cx:pt idx="4011">153.950610515676</cx:pt>
          <cx:pt idx="4012">153.950610515676</cx:pt>
          <cx:pt idx="4013">153.950610515676</cx:pt>
          <cx:pt idx="4014">153.950610515676</cx:pt>
          <cx:pt idx="4015">153.950610515676</cx:pt>
          <cx:pt idx="4016">153.950610515676</cx:pt>
          <cx:pt idx="4017">153.950610515676</cx:pt>
          <cx:pt idx="4018">153.950610515676</cx:pt>
          <cx:pt idx="4019">153.950610515676</cx:pt>
          <cx:pt idx="4020">153.950610515676</cx:pt>
          <cx:pt idx="4021">153.950610515676</cx:pt>
          <cx:pt idx="4022">153.950610515676</cx:pt>
          <cx:pt idx="4023">153.950610515676</cx:pt>
          <cx:pt idx="4024">153.950610515676</cx:pt>
          <cx:pt idx="4025">153.950610515676</cx:pt>
          <cx:pt idx="4026">153.950610515676</cx:pt>
          <cx:pt idx="4027">153.950610515676</cx:pt>
          <cx:pt idx="4028">153.950610515676</cx:pt>
          <cx:pt idx="4029">153.950610515676</cx:pt>
          <cx:pt idx="4030">153.950610515676</cx:pt>
          <cx:pt idx="4031">153.950610515676</cx:pt>
          <cx:pt idx="4032">153.950610515676</cx:pt>
          <cx:pt idx="4033">153.950610515676</cx:pt>
          <cx:pt idx="4034">153.950610515676</cx:pt>
          <cx:pt idx="4035">153.950610515676</cx:pt>
          <cx:pt idx="4036">153.950610515676</cx:pt>
          <cx:pt idx="4037">153.950610515676</cx:pt>
          <cx:pt idx="4038">153.950610515676</cx:pt>
          <cx:pt idx="4039">153.950610515676</cx:pt>
          <cx:pt idx="4040">153.950610515676</cx:pt>
          <cx:pt idx="4041">153.950610515676</cx:pt>
          <cx:pt idx="4042">153.950610515676</cx:pt>
          <cx:pt idx="4043">153.950610515676</cx:pt>
          <cx:pt idx="4044">153.950610515676</cx:pt>
          <cx:pt idx="4045">153.950610515676</cx:pt>
          <cx:pt idx="4046">153.950610515676</cx:pt>
          <cx:pt idx="4047">153.950610515676</cx:pt>
          <cx:pt idx="4048">153.950610515676</cx:pt>
          <cx:pt idx="4049">153.950610515676</cx:pt>
          <cx:pt idx="4050">153.950610515676</cx:pt>
          <cx:pt idx="4051">153.950610515676</cx:pt>
          <cx:pt idx="4052">153.950610515676</cx:pt>
          <cx:pt idx="4053">153.950610515676</cx:pt>
          <cx:pt idx="4054">153.950610515676</cx:pt>
          <cx:pt idx="4055">153.950610515676</cx:pt>
          <cx:pt idx="4056">153.950610515676</cx:pt>
          <cx:pt idx="4057">153.950610515676</cx:pt>
          <cx:pt idx="4058">153.950610515676</cx:pt>
          <cx:pt idx="4059">153.950610515676</cx:pt>
          <cx:pt idx="4060">153.950610515676</cx:pt>
          <cx:pt idx="4061">153.950610515676</cx:pt>
          <cx:pt idx="4062">153.950610515676</cx:pt>
          <cx:pt idx="4063">153.950610515676</cx:pt>
          <cx:pt idx="4064">153.950610515676</cx:pt>
          <cx:pt idx="4065">153.950610515676</cx:pt>
          <cx:pt idx="4066">153.950610515676</cx:pt>
          <cx:pt idx="4067">153.950610515676</cx:pt>
          <cx:pt idx="4068">153.950610515676</cx:pt>
          <cx:pt idx="4069">153.950610515676</cx:pt>
          <cx:pt idx="4070">153.950610515676</cx:pt>
          <cx:pt idx="4071">153.950610515676</cx:pt>
          <cx:pt idx="4072">153.950610515676</cx:pt>
          <cx:pt idx="4073">153.950610515676</cx:pt>
          <cx:pt idx="4074">153.950610515676</cx:pt>
          <cx:pt idx="4075">153.950610515676</cx:pt>
          <cx:pt idx="4076">153.950610515676</cx:pt>
          <cx:pt idx="4077">153.950610515676</cx:pt>
          <cx:pt idx="4078">153.950610515676</cx:pt>
          <cx:pt idx="4079">153.950610515676</cx:pt>
          <cx:pt idx="4080">153.950610515676</cx:pt>
          <cx:pt idx="4081">153.950610515676</cx:pt>
          <cx:pt idx="4082">153.950610515676</cx:pt>
          <cx:pt idx="4083">153.950610515676</cx:pt>
          <cx:pt idx="4084">153.950610515676</cx:pt>
          <cx:pt idx="4085">153.950610515676</cx:pt>
          <cx:pt idx="4086">153.950610515676</cx:pt>
          <cx:pt idx="4087">153.950610515676</cx:pt>
          <cx:pt idx="4088">153.950610515676</cx:pt>
          <cx:pt idx="4089">153.950610515676</cx:pt>
          <cx:pt idx="4090">153.950610515676</cx:pt>
          <cx:pt idx="4091">153.950610515676</cx:pt>
          <cx:pt idx="4092">153.950610515676</cx:pt>
          <cx:pt idx="4093">153.950610515676</cx:pt>
          <cx:pt idx="4094">153.950610515676</cx:pt>
          <cx:pt idx="4095">153.950610515676</cx:pt>
          <cx:pt idx="4096">153.950610515676</cx:pt>
          <cx:pt idx="4097">153.950610515676</cx:pt>
          <cx:pt idx="4098">153.950610515676</cx:pt>
          <cx:pt idx="4099">153.950610515676</cx:pt>
          <cx:pt idx="4100">153.950610515676</cx:pt>
          <cx:pt idx="4101">153.950610515676</cx:pt>
          <cx:pt idx="4102">153.950610515676</cx:pt>
          <cx:pt idx="4103">153.950610515676</cx:pt>
          <cx:pt idx="4104">153.950610515676</cx:pt>
          <cx:pt idx="4105">153.950610515676</cx:pt>
          <cx:pt idx="4106">153.86651643677433</cx:pt>
          <cx:pt idx="4107">153.61738048803974</cx:pt>
          <cx:pt idx="4108">153.55815523672084</cx:pt>
          <cx:pt idx="4109">153.23200413007899</cx:pt>
          <cx:pt idx="4110">153.20895414227749</cx:pt>
          <cx:pt idx="4111">153.05238235860119</cx:pt>
          <cx:pt idx="4112">152.84383793085624</cx:pt>
          <cx:pt idx="4113">152.45280214896499</cx:pt>
          <cx:pt idx="4114">152.29378098028101</cx:pt>
          <cx:pt idx="4115">152.29378098028101</cx:pt>
          <cx:pt idx="4116">152.29378098028101</cx:pt>
          <cx:pt idx="4117">152.29378098028101</cx:pt>
          <cx:pt idx="4118">152.29378098028101</cx:pt>
          <cx:pt idx="4119">152.29378098028101</cx:pt>
          <cx:pt idx="4120">152.29378098028101</cx:pt>
          <cx:pt idx="4121">152.29378098028101</cx:pt>
          <cx:pt idx="4122">152.29378098028101</cx:pt>
          <cx:pt idx="4123">152.29378098028101</cx:pt>
          <cx:pt idx="4124">152.29378098028101</cx:pt>
          <cx:pt idx="4125">152.29378098028101</cx:pt>
          <cx:pt idx="4126">152.29378098028101</cx:pt>
          <cx:pt idx="4127">152.29378098028101</cx:pt>
          <cx:pt idx="4128">152.29378098028101</cx:pt>
          <cx:pt idx="4129">152.29378098028101</cx:pt>
          <cx:pt idx="4130">152.29378098028101</cx:pt>
          <cx:pt idx="4131">152.29378098028101</cx:pt>
          <cx:pt idx="4132">152.29378098028101</cx:pt>
          <cx:pt idx="4133">152.29378098028101</cx:pt>
          <cx:pt idx="4134">152.29378098028101</cx:pt>
          <cx:pt idx="4135">152.29378098028101</cx:pt>
          <cx:pt idx="4136">152.29378098028101</cx:pt>
          <cx:pt idx="4137">152.29378098028101</cx:pt>
          <cx:pt idx="4138">152.29378098028101</cx:pt>
          <cx:pt idx="4139">152.29378098028101</cx:pt>
          <cx:pt idx="4140">152.27995414692759</cx:pt>
          <cx:pt idx="4141">152.27995414692759</cx:pt>
          <cx:pt idx="4142">152.214191092334</cx:pt>
          <cx:pt idx="4143">152.214191092334</cx:pt>
          <cx:pt idx="4144">152.214191092334</cx:pt>
          <cx:pt idx="4145">152.214191092334</cx:pt>
          <cx:pt idx="4146">152.05919757183284</cx:pt>
          <cx:pt idx="4147">151.64778307524003</cx:pt>
          <cx:pt idx="4148">151.54904258895857</cx:pt>
          <cx:pt idx="4149">151.21448477490051</cx:pt>
          <cx:pt idx="4150">151.198657290233</cx:pt>
          <cx:pt idx="4151">151.122718801117</cx:pt>
          <cx:pt idx="4152">151.122718801117</cx:pt>
          <cx:pt idx="4153">151.122718801117</cx:pt>
          <cx:pt idx="4154">151.122718801117</cx:pt>
          <cx:pt idx="4155">151.122718801117</cx:pt>
          <cx:pt idx="4156">151.122718801117</cx:pt>
          <cx:pt idx="4157">151.122718801117</cx:pt>
          <cx:pt idx="4158">151.122718801117</cx:pt>
          <cx:pt idx="4159">151.122718801117</cx:pt>
          <cx:pt idx="4160">151.122718801117</cx:pt>
          <cx:pt idx="4161">151.122718801117</cx:pt>
          <cx:pt idx="4162">151.122718801117</cx:pt>
          <cx:pt idx="4163">151.02972114926476</cx:pt>
          <cx:pt idx="4164">150.85424397701368</cx:pt>
          <cx:pt idx="4165">150.85424397701368</cx:pt>
          <cx:pt idx="4166">150.85424397701368</cx:pt>
          <cx:pt idx="4167">150.85424397701368</cx:pt>
          <cx:pt idx="4168">150.62004768746326</cx:pt>
          <cx:pt idx="4169">150.62004768746326</cx:pt>
          <cx:pt idx="4170">150.62004768746326</cx:pt>
          <cx:pt idx="4171">150.62004768746326</cx:pt>
          <cx:pt idx="4172">150.62004768746326</cx:pt>
          <cx:pt idx="4173">150.40251395448874</cx:pt>
          <cx:pt idx="4174">150.30615961586832</cx:pt>
          <cx:pt idx="4175">149.97479582201998</cx:pt>
          <cx:pt idx="4176">149.97479582201998</cx:pt>
          <cx:pt idx="4177">149.90547192409551</cx:pt>
          <cx:pt idx="4178">149.90547192409551</cx:pt>
          <cx:pt idx="4179">149.75567209310267</cx:pt>
          <cx:pt idx="4180">149.71109302566734</cx:pt>
          <cx:pt idx="4181">149.45044030350016</cx:pt>
          <cx:pt idx="4182">149.40023411279174</cx:pt>
          <cx:pt idx="4183">149.28966240711799</cx:pt>
          <cx:pt idx="4184">148.95997613302998</cx:pt>
          <cx:pt idx="4185">148.9268515850884</cx:pt>
          <cx:pt idx="4186">148.91615963548142</cx:pt>
          <cx:pt idx="4187">148.89319913425749</cx:pt>
          <cx:pt idx="4188">148.13093995400166</cx:pt>
          <cx:pt idx="4189">148.13093995400166</cx:pt>
          <cx:pt idx="4190">148.0048496025365</cx:pt>
          <cx:pt idx="4191">147.93086019974379</cx:pt>
          <cx:pt idx="4192">147.81855120819824</cx:pt>
          <cx:pt idx="4193">147.53560237356285</cx:pt>
          <cx:pt idx="4194">147.53560237356285</cx:pt>
          <cx:pt idx="4195">147.48570204168132</cx:pt>
          <cx:pt idx="4196">147.48570204168132</cx:pt>
          <cx:pt idx="4197">147.48570204168132</cx:pt>
          <cx:pt idx="4198">147.48570204168132</cx:pt>
          <cx:pt idx="4199">147.48570204168132</cx:pt>
          <cx:pt idx="4200">147.26268638327699</cx:pt>
          <cx:pt idx="4201">147.16174400500668</cx:pt>
          <cx:pt idx="4202">147.16174400500668</cx:pt>
          <cx:pt idx="4203">147.16174400500668</cx:pt>
          <cx:pt idx="4204">147.16174400500668</cx:pt>
          <cx:pt idx="4205">147.16174400500668</cx:pt>
          <cx:pt idx="4206">147.16174400500668</cx:pt>
          <cx:pt idx="4207">147.16174400500668</cx:pt>
          <cx:pt idx="4208">147.16174400500668</cx:pt>
          <cx:pt idx="4209">147.16174400500668</cx:pt>
          <cx:pt idx="4210">146.78621272510634</cx:pt>
          <cx:pt idx="4211">146.43389510265661</cx:pt>
          <cx:pt idx="4212">146.27241143037125</cx:pt>
          <cx:pt idx="4213">145.68832728879875</cx:pt>
          <cx:pt idx="4214">145.42487144975601</cx:pt>
          <cx:pt idx="4215">145.42487144975601</cx:pt>
          <cx:pt idx="4216">145.42487144975601</cx:pt>
          <cx:pt idx="4217">145.42487144975601</cx:pt>
          <cx:pt idx="4218">145.42487144975601</cx:pt>
          <cx:pt idx="4219">145.42487144975601</cx:pt>
          <cx:pt idx="4220">145.42487144975601</cx:pt>
          <cx:pt idx="4221">145.42487144975601</cx:pt>
          <cx:pt idx="4222">145.42487144975601</cx:pt>
          <cx:pt idx="4223">145.42487144975601</cx:pt>
          <cx:pt idx="4224">145.42487144975601</cx:pt>
          <cx:pt idx="4225">145.42487144975601</cx:pt>
          <cx:pt idx="4226">145.42487144975601</cx:pt>
          <cx:pt idx="4227">145.42487144975601</cx:pt>
          <cx:pt idx="4228">145.42487144975601</cx:pt>
          <cx:pt idx="4229">145.42487144975601</cx:pt>
          <cx:pt idx="4230">145.42487144975601</cx:pt>
          <cx:pt idx="4231">145.42487144975601</cx:pt>
          <cx:pt idx="4232">145.42487144975601</cx:pt>
          <cx:pt idx="4233">145.42487144975601</cx:pt>
          <cx:pt idx="4234">145.42487144975601</cx:pt>
          <cx:pt idx="4235">145.42487144975601</cx:pt>
          <cx:pt idx="4236">145.42487144975601</cx:pt>
          <cx:pt idx="4237">145.42487144975601</cx:pt>
          <cx:pt idx="4238">145.08134031746468</cx:pt>
          <cx:pt idx="4239">144.94887035795333</cx:pt>
          <cx:pt idx="4240">144.35418271807217</cx:pt>
          <cx:pt idx="4241">144.31057892389018</cx:pt>
          <cx:pt idx="4242">144.29469745222951</cx:pt>
          <cx:pt idx="4243">144.29469745222951</cx:pt>
          <cx:pt idx="4244">144.29469745222951</cx:pt>
          <cx:pt idx="4245">144.29469745222951</cx:pt>
          <cx:pt idx="4246">144.29469745222951</cx:pt>
          <cx:pt idx="4247">144.29469745222951</cx:pt>
          <cx:pt idx="4248">144.29469745222951</cx:pt>
          <cx:pt idx="4249">144.29469745222951</cx:pt>
          <cx:pt idx="4250">144.29469745222951</cx:pt>
          <cx:pt idx="4251">144.29469745222951</cx:pt>
          <cx:pt idx="4252">144.29469745222951</cx:pt>
          <cx:pt idx="4253">144.29469745222951</cx:pt>
          <cx:pt idx="4254">144.29469745222951</cx:pt>
          <cx:pt idx="4255">144.29469745222951</cx:pt>
          <cx:pt idx="4256">144.29469745222951</cx:pt>
          <cx:pt idx="4257">144.29469745222951</cx:pt>
          <cx:pt idx="4258">144.294697452229</cx:pt>
          <cx:pt idx="4259">144.294697452229</cx:pt>
          <cx:pt idx="4260">144.294697452229</cx:pt>
          <cx:pt idx="4261">144.294697452229</cx:pt>
          <cx:pt idx="4262">144.294697452229</cx:pt>
          <cx:pt idx="4263">144.294697452229</cx:pt>
          <cx:pt idx="4264">144.294697452229</cx:pt>
          <cx:pt idx="4265">144.294697452229</cx:pt>
          <cx:pt idx="4266">144.294697452229</cx:pt>
          <cx:pt idx="4267">144.294697452229</cx:pt>
          <cx:pt idx="4268">144.294697452229</cx:pt>
          <cx:pt idx="4269">144.294697452229</cx:pt>
          <cx:pt idx="4270">144.294697452229</cx:pt>
          <cx:pt idx="4271">144.294697452229</cx:pt>
          <cx:pt idx="4272">144.294697452229</cx:pt>
          <cx:pt idx="4273">144.294697452229</cx:pt>
          <cx:pt idx="4274">144.294697452229</cx:pt>
          <cx:pt idx="4275">144.28177430549866</cx:pt>
          <cx:pt idx="4276">144.28177430549866</cx:pt>
          <cx:pt idx="4277">143.9915311572328</cx:pt>
          <cx:pt idx="4278">143.9915311572328</cx:pt>
          <cx:pt idx="4279">143.85069971395299</cx:pt>
          <cx:pt idx="4280">143.85069971395299</cx:pt>
          <cx:pt idx="4281">143.85069971395299</cx:pt>
          <cx:pt idx="4282">143.56423889952075</cx:pt>
          <cx:pt idx="4283">143.47271504317112</cx:pt>
          <cx:pt idx="4284">142.67431315827517</cx:pt>
          <cx:pt idx="4285">142.48144972689124</cx:pt>
          <cx:pt idx="4286">142.21883178615033</cx:pt>
          <cx:pt idx="4287">142.211865190721</cx:pt>
          <cx:pt idx="4288">142.211865190721</cx:pt>
          <cx:pt idx="4289">142.211865190721</cx:pt>
          <cx:pt idx="4290">142.211865190721</cx:pt>
          <cx:pt idx="4291">142.211865190721</cx:pt>
          <cx:pt idx="4292">142.211865190721</cx:pt>
          <cx:pt idx="4293">142.211865190721</cx:pt>
          <cx:pt idx="4294">142.211865190721</cx:pt>
          <cx:pt idx="4295">142.211865190721</cx:pt>
          <cx:pt idx="4296">142.211865190721</cx:pt>
          <cx:pt idx="4297">141.50950402175883</cx:pt>
          <cx:pt idx="4298">141.32855150809951</cx:pt>
          <cx:pt idx="4299">141.10905082904301</cx:pt>
          <cx:pt idx="4300">141.10905082904301</cx:pt>
          <cx:pt idx="4301">141.10905082904301</cx:pt>
          <cx:pt idx="4302">141.10905082904301</cx:pt>
          <cx:pt idx="4303">141.10905082904301</cx:pt>
          <cx:pt idx="4304">141.10905082904301</cx:pt>
          <cx:pt idx="4305">141.10905082904301</cx:pt>
          <cx:pt idx="4306">141.10905082904301</cx:pt>
          <cx:pt idx="4307">141.10905082904301</cx:pt>
          <cx:pt idx="4308">141.10905082904301</cx:pt>
          <cx:pt idx="4309">141.10905082904301</cx:pt>
          <cx:pt idx="4310">141.10905082904301</cx:pt>
          <cx:pt idx="4311">141.10905082904301</cx:pt>
          <cx:pt idx="4312">141.10905082904301</cx:pt>
          <cx:pt idx="4313">141.08633037699124</cx:pt>
          <cx:pt idx="4314">141.06007742795751</cx:pt>
          <cx:pt idx="4315">141.06007742795751</cx:pt>
          <cx:pt idx="4316">140.722314823131</cx:pt>
          <cx:pt idx="4317">140.722314823131</cx:pt>
          <cx:pt idx="4318">140.722314823131</cx:pt>
          <cx:pt idx="4319">140.722314823131</cx:pt>
          <cx:pt idx="4320">140.722314823131</cx:pt>
          <cx:pt idx="4321">140.70646956525025</cx:pt>
          <cx:pt idx="4322">140.70646956525025</cx:pt>
          <cx:pt idx="4323">140.5375060495445</cx:pt>
          <cx:pt idx="4324">140.40660095921717</cx:pt>
          <cx:pt idx="4325">140.40167415694671</cx:pt>
          <cx:pt idx="4326">140.31222650591999</cx:pt>
          <cx:pt idx="4327">140.28024921062374</cx:pt>
          <cx:pt idx="4328">140.12609161406843</cx:pt>
          <cx:pt idx="4329">139.76882021304041</cx:pt>
          <cx:pt idx="4330">139.72831096969799</cx:pt>
          <cx:pt idx="4331">139.72831096969799</cx:pt>
          <cx:pt idx="4332">139.72831096969799</cx:pt>
          <cx:pt idx="4333">139.72831096969799</cx:pt>
          <cx:pt idx="4334">139.72831096969799</cx:pt>
          <cx:pt idx="4335">139.72831096969799</cx:pt>
          <cx:pt idx="4336">139.72831096969799</cx:pt>
          <cx:pt idx="4337">139.72831096969799</cx:pt>
          <cx:pt idx="4338">139.72831096969799</cx:pt>
          <cx:pt idx="4339">139.72831096969799</cx:pt>
          <cx:pt idx="4340">139.72831096969799</cx:pt>
          <cx:pt idx="4341">139.72831096969799</cx:pt>
          <cx:pt idx="4342">139.72831096969799</cx:pt>
          <cx:pt idx="4343">139.72831096969799</cx:pt>
          <cx:pt idx="4344">139.72831096969799</cx:pt>
          <cx:pt idx="4345">139.72831096969799</cx:pt>
          <cx:pt idx="4346">139.72831096969799</cx:pt>
          <cx:pt idx="4347">139.72831096969799</cx:pt>
          <cx:pt idx="4348">139.72831096969799</cx:pt>
          <cx:pt idx="4349">139.72831096969799</cx:pt>
          <cx:pt idx="4350">139.72831096969799</cx:pt>
          <cx:pt idx="4351">139.72831096969799</cx:pt>
          <cx:pt idx="4352">139.72831096969799</cx:pt>
          <cx:pt idx="4353">139.72831096969799</cx:pt>
          <cx:pt idx="4354">139.72831096969799</cx:pt>
          <cx:pt idx="4355">139.72831096969799</cx:pt>
          <cx:pt idx="4356">139.72831096969799</cx:pt>
          <cx:pt idx="4357">139.72831096969799</cx:pt>
          <cx:pt idx="4358">139.72831096969799</cx:pt>
          <cx:pt idx="4359">139.72831096969799</cx:pt>
          <cx:pt idx="4360">139.72831096969799</cx:pt>
          <cx:pt idx="4361">139.72831096969799</cx:pt>
          <cx:pt idx="4362">139.72831096969799</cx:pt>
          <cx:pt idx="4363">139.72831096969799</cx:pt>
          <cx:pt idx="4364">139.72831096969799</cx:pt>
          <cx:pt idx="4365">139.72831096969799</cx:pt>
          <cx:pt idx="4366">139.72831096969799</cx:pt>
          <cx:pt idx="4367">139.72831096969799</cx:pt>
          <cx:pt idx="4368">139.72831096969799</cx:pt>
          <cx:pt idx="4369">139.70675660468001</cx:pt>
          <cx:pt idx="4370">139.70675660468001</cx:pt>
          <cx:pt idx="4371">139.70675660468001</cx:pt>
          <cx:pt idx="4372">139.69327665158275</cx:pt>
          <cx:pt idx="4373">139.64178009872566</cx:pt>
          <cx:pt idx="4374">139.64178009872566</cx:pt>
          <cx:pt idx="4375">139.44735620041001</cx:pt>
          <cx:pt idx="4376">139.44735620041001</cx:pt>
          <cx:pt idx="4377">139.44735620041001</cx:pt>
          <cx:pt idx="4378">139.44735620041001</cx:pt>
          <cx:pt idx="4379">139.44735620041001</cx:pt>
          <cx:pt idx="4380">139.44735620041001</cx:pt>
          <cx:pt idx="4381">139.44735620041001</cx:pt>
          <cx:pt idx="4382">139.44735620041001</cx:pt>
          <cx:pt idx="4383">139.44735620041001</cx:pt>
          <cx:pt idx="4384">139.44735620041001</cx:pt>
          <cx:pt idx="4385">139.44735620041001</cx:pt>
          <cx:pt idx="4386">139.44735620041001</cx:pt>
          <cx:pt idx="4387">139.44735620041001</cx:pt>
          <cx:pt idx="4388">139.44735620041001</cx:pt>
          <cx:pt idx="4389">139.44735620041001</cx:pt>
          <cx:pt idx="4390">139.44735620041001</cx:pt>
          <cx:pt idx="4391">139.44735620041001</cx:pt>
          <cx:pt idx="4392">139.44735620041001</cx:pt>
          <cx:pt idx="4393">139.44735620041001</cx:pt>
          <cx:pt idx="4394">139.44735620041001</cx:pt>
          <cx:pt idx="4395">139.44735620041001</cx:pt>
          <cx:pt idx="4396">139.44735620041001</cx:pt>
          <cx:pt idx="4397">139.44735620041001</cx:pt>
          <cx:pt idx="4398">139.44735620041001</cx:pt>
          <cx:pt idx="4399">139.44735620041001</cx:pt>
          <cx:pt idx="4400">139.44735620041001</cx:pt>
          <cx:pt idx="4401">139.44735620041001</cx:pt>
          <cx:pt idx="4402">139.44735620041001</cx:pt>
          <cx:pt idx="4403">139.44735620041001</cx:pt>
          <cx:pt idx="4404">139.44735620041001</cx:pt>
          <cx:pt idx="4405">139.44735620041001</cx:pt>
          <cx:pt idx="4406">139.44735620041001</cx:pt>
          <cx:pt idx="4407">139.44735620041001</cx:pt>
          <cx:pt idx="4408">139.44735620041001</cx:pt>
          <cx:pt idx="4409">139.44735620041001</cx:pt>
          <cx:pt idx="4410">139.44735620041001</cx:pt>
          <cx:pt idx="4411">139.44735620041001</cx:pt>
          <cx:pt idx="4412">139.44735620041001</cx:pt>
          <cx:pt idx="4413">139.44735620041001</cx:pt>
          <cx:pt idx="4414">139.44735620041001</cx:pt>
          <cx:pt idx="4415">139.44735620041001</cx:pt>
          <cx:pt idx="4416">139.44735620041001</cx:pt>
          <cx:pt idx="4417">139.44735620041001</cx:pt>
          <cx:pt idx="4418">139.42551261674299</cx:pt>
          <cx:pt idx="4419">139.42551261674299</cx:pt>
          <cx:pt idx="4420">139.42551261674299</cx:pt>
          <cx:pt idx="4421">139.42551261674299</cx:pt>
          <cx:pt idx="4422">139.42551261674299</cx:pt>
          <cx:pt idx="4423">139.42551261674299</cx:pt>
          <cx:pt idx="4424">139.42551261674299</cx:pt>
          <cx:pt idx="4425">139.42551261674299</cx:pt>
          <cx:pt idx="4426">139.42551261674299</cx:pt>
          <cx:pt idx="4427">139.42551261674299</cx:pt>
          <cx:pt idx="4428">139.42551261674299</cx:pt>
          <cx:pt idx="4429">139.35258133907101</cx:pt>
          <cx:pt idx="4430">139.169791639435</cx:pt>
          <cx:pt idx="4431">139.08813656966751</cx:pt>
          <cx:pt idx="4432">139.08813656966751</cx:pt>
          <cx:pt idx="4433">139.08813656966751</cx:pt>
          <cx:pt idx="4434">139.08813656966751</cx:pt>
          <cx:pt idx="4435">139.08813656966751</cx:pt>
          <cx:pt idx="4436">139.08813656966751</cx:pt>
          <cx:pt idx="4437">139.08813656966751</cx:pt>
          <cx:pt idx="4438">139.08813656966751</cx:pt>
          <cx:pt idx="4439">139.08813656966751</cx:pt>
          <cx:pt idx="4440">139.08813656966751</cx:pt>
          <cx:pt idx="4441">139.08813656966751</cx:pt>
          <cx:pt idx="4442">139.08813656966751</cx:pt>
          <cx:pt idx="4443">138.73001898938099</cx:pt>
          <cx:pt idx="4444">138.61106241938876</cx:pt>
          <cx:pt idx="4445">138.541359875333</cx:pt>
          <cx:pt idx="4446">138.51546631085401</cx:pt>
          <cx:pt idx="4447">138.33852192580559</cx:pt>
          <cx:pt idx="4448">138.33852192580559</cx:pt>
          <cx:pt idx="4449">138.17874134969401</cx:pt>
          <cx:pt idx="4450">138.17874134969401</cx:pt>
          <cx:pt idx="4451">138.17874134969401</cx:pt>
          <cx:pt idx="4452">138.17874134969401</cx:pt>
          <cx:pt idx="4453">138.17874134969401</cx:pt>
          <cx:pt idx="4454">138.14295751197525</cx:pt>
          <cx:pt idx="4455">138.14295751197525</cx:pt>
          <cx:pt idx="4456">138.14295751197525</cx:pt>
          <cx:pt idx="4457">138.14295751197525</cx:pt>
          <cx:pt idx="4458">138.12572337047899</cx:pt>
          <cx:pt idx="4459">138.12572337047899</cx:pt>
          <cx:pt idx="4460">138.03710959885649</cx:pt>
          <cx:pt idx="4461">138.03710959885649</cx:pt>
          <cx:pt idx="4462">137.90225374634861</cx:pt>
          <cx:pt idx="4463">137.90225374634861</cx:pt>
          <cx:pt idx="4464">137.700196596963</cx:pt>
          <cx:pt idx="4465">137.52273647852974</cx:pt>
          <cx:pt idx="4466">137.52273647852974</cx:pt>
          <cx:pt idx="4467">137.52273647852974</cx:pt>
          <cx:pt idx="4468">137.52273647852974</cx:pt>
          <cx:pt idx="4469">137.52273647852974</cx:pt>
          <cx:pt idx="4470">137.52273647852974</cx:pt>
          <cx:pt idx="4471">137.52273647852974</cx:pt>
          <cx:pt idx="4472">137.52273647852974</cx:pt>
          <cx:pt idx="4473">137.52273647852974</cx:pt>
          <cx:pt idx="4474">137.50771248746486</cx:pt>
          <cx:pt idx="4475">137.1859964041565</cx:pt>
          <cx:pt idx="4476">137.1859964041565</cx:pt>
          <cx:pt idx="4477">137.1859964041565</cx:pt>
          <cx:pt idx="4478">137.1859964041565</cx:pt>
          <cx:pt idx="4479">137.1859964041565</cx:pt>
          <cx:pt idx="4480">137.1859964041565</cx:pt>
          <cx:pt idx="4481">137.1859964041565</cx:pt>
          <cx:pt idx="4482">137.1859964041565</cx:pt>
          <cx:pt idx="4483">137.1859964041565</cx:pt>
          <cx:pt idx="4484">137.1859964041565</cx:pt>
          <cx:pt idx="4485">137.1859964041565</cx:pt>
          <cx:pt idx="4486">137.1859964041565</cx:pt>
          <cx:pt idx="4487">137.1859964041565</cx:pt>
          <cx:pt idx="4488">137.1859964041565</cx:pt>
          <cx:pt idx="4489">137.1859964041565</cx:pt>
          <cx:pt idx="4490">137.1859964041565</cx:pt>
          <cx:pt idx="4491">137.1859964041565</cx:pt>
          <cx:pt idx="4492">137.06567201654445</cx:pt>
          <cx:pt idx="4493">136.9999899434365</cx:pt>
          <cx:pt idx="4494">136.9400346143365</cx:pt>
          <cx:pt idx="4495">136.77953349068159</cx:pt>
          <cx:pt idx="4496">136.56538553511299</cx:pt>
          <cx:pt idx="4497">136.3424925282435</cx:pt>
          <cx:pt idx="4498">136.3424925282435</cx:pt>
          <cx:pt idx="4499">136.3424925282435</cx:pt>
          <cx:pt idx="4500">136.3424925282435</cx:pt>
          <cx:pt idx="4501">136.3424925282435</cx:pt>
          <cx:pt idx="4502">136.3424925282435</cx:pt>
          <cx:pt idx="4503">136.3424925282435</cx:pt>
          <cx:pt idx="4504">136.3424925282435</cx:pt>
          <cx:pt idx="4505">136.3424925282435</cx:pt>
          <cx:pt idx="4506">136.3424925282435</cx:pt>
          <cx:pt idx="4507">136.3424925282435</cx:pt>
          <cx:pt idx="4508">136.3424925282435</cx:pt>
          <cx:pt idx="4509">136.3424925282435</cx:pt>
          <cx:pt idx="4510">136.3424925282435</cx:pt>
          <cx:pt idx="4511">136.3424925282435</cx:pt>
          <cx:pt idx="4512">136.3424925282435</cx:pt>
          <cx:pt idx="4513">136.3424925282435</cx:pt>
          <cx:pt idx="4514">136.3424925282435</cx:pt>
          <cx:pt idx="4515">136.3424925282435</cx:pt>
          <cx:pt idx="4516">136.3424925282435</cx:pt>
          <cx:pt idx="4517">136.3424925282435</cx:pt>
          <cx:pt idx="4518">136.34249252824301</cx:pt>
          <cx:pt idx="4519">136.34249252824301</cx:pt>
          <cx:pt idx="4520">136.34249252824301</cx:pt>
          <cx:pt idx="4521">136.34249252824301</cx:pt>
          <cx:pt idx="4522">136.34249252824301</cx:pt>
          <cx:pt idx="4523">136.34249252824301</cx:pt>
          <cx:pt idx="4524">136.34249252824301</cx:pt>
          <cx:pt idx="4525">136.34249252824301</cx:pt>
          <cx:pt idx="4526">136.34249252824301</cx:pt>
          <cx:pt idx="4527">136.34249252824301</cx:pt>
          <cx:pt idx="4528">136.34249252824301</cx:pt>
          <cx:pt idx="4529">136.34249252824301</cx:pt>
          <cx:pt idx="4530">136.34249252824301</cx:pt>
          <cx:pt idx="4531">136.34249252824301</cx:pt>
          <cx:pt idx="4532">136.34249252824301</cx:pt>
          <cx:pt idx="4533">136.34249252824301</cx:pt>
          <cx:pt idx="4534">136.34249252824301</cx:pt>
          <cx:pt idx="4535">136.34249252824301</cx:pt>
          <cx:pt idx="4536">136.34249252824301</cx:pt>
          <cx:pt idx="4537">136.34249252824301</cx:pt>
          <cx:pt idx="4538">136.34249252824301</cx:pt>
          <cx:pt idx="4539">136.11416328289266</cx:pt>
          <cx:pt idx="4540">136.11416328289266</cx:pt>
          <cx:pt idx="4541">136.11416328289266</cx:pt>
          <cx:pt idx="4542">135.83635494388633</cx:pt>
          <cx:pt idx="4543">135.8167784036375</cx:pt>
          <cx:pt idx="4544">135.8167784036375</cx:pt>
          <cx:pt idx="4545">135.8167784036375</cx:pt>
          <cx:pt idx="4546">135.8167784036375</cx:pt>
          <cx:pt idx="4547">135.8167784036375</cx:pt>
          <cx:pt idx="4548">135.8167784036375</cx:pt>
          <cx:pt idx="4549">135.8167784036375</cx:pt>
          <cx:pt idx="4550">135.8167784036375</cx:pt>
          <cx:pt idx="4551">135.8167784036375</cx:pt>
          <cx:pt idx="4552">135.7692041807955</cx:pt>
          <cx:pt idx="4553">135.7692041807955</cx:pt>
          <cx:pt idx="4554">135.7692041807955</cx:pt>
          <cx:pt idx="4555">135.7630091879025</cx:pt>
          <cx:pt idx="4556">135.7630091879025</cx:pt>
          <cx:pt idx="4557">135.73302945171076</cx:pt>
          <cx:pt idx="4558">135.73302945171076</cx:pt>
          <cx:pt idx="4559">135.55439247622749</cx:pt>
          <cx:pt idx="4560">135.52463890209233</cx:pt>
          <cx:pt idx="4561">135.42407779126876</cx:pt>
          <cx:pt idx="4562">135.42407779126876</cx:pt>
          <cx:pt idx="4563">135.42407779126876</cx:pt>
          <cx:pt idx="4564">135.42407779126876</cx:pt>
          <cx:pt idx="4565">135.42407779126876</cx:pt>
          <cx:pt idx="4566">135.22545406470633</cx:pt>
          <cx:pt idx="4567">135.22545406470633</cx:pt>
          <cx:pt idx="4568">135.03398915411375</cx:pt>
          <cx:pt idx="4569">134.46578551133317</cx:pt>
          <cx:pt idx="4570">134.2465847473176</cx:pt>
          <cx:pt idx="4571">134.2465847473176</cx:pt>
          <cx:pt idx="4572">134.2465847473176</cx:pt>
          <cx:pt idx="4573">134.2465847473176</cx:pt>
          <cx:pt idx="4574">133.99825662198501</cx:pt>
          <cx:pt idx="4575">133.99825662198501</cx:pt>
          <cx:pt idx="4576">133.99825662198501</cx:pt>
          <cx:pt idx="4577">133.99825662198501</cx:pt>
          <cx:pt idx="4578">133.99825662198501</cx:pt>
          <cx:pt idx="4579">133.99825662198501</cx:pt>
          <cx:pt idx="4580">133.99825662198501</cx:pt>
          <cx:pt idx="4581">133.99825662198501</cx:pt>
          <cx:pt idx="4582">133.99825662198501</cx:pt>
          <cx:pt idx="4583">133.99825662198501</cx:pt>
          <cx:pt idx="4584">133.99825662198501</cx:pt>
          <cx:pt idx="4585">133.99825662198501</cx:pt>
          <cx:pt idx="4586">133.99825662198501</cx:pt>
          <cx:pt idx="4587">133.99825662198501</cx:pt>
          <cx:pt idx="4588">133.99825662198501</cx:pt>
          <cx:pt idx="4589">133.97255167931232</cx:pt>
          <cx:pt idx="4590">133.97255167931232</cx:pt>
          <cx:pt idx="4591">133.726364231362</cx:pt>
          <cx:pt idx="4592">133.726364231362</cx:pt>
          <cx:pt idx="4593">133.67602035520559</cx:pt>
          <cx:pt idx="4594">133.62588536686775</cx:pt>
          <cx:pt idx="4595">133.62588536686775</cx:pt>
          <cx:pt idx="4596">133.62588536686775</cx:pt>
          <cx:pt idx="4597">133.62588536686775</cx:pt>
          <cx:pt idx="4598">133.62588536686775</cx:pt>
          <cx:pt idx="4599">133.62588536686775</cx:pt>
          <cx:pt idx="4600">133.52888242532333</cx:pt>
          <cx:pt idx="4601">133.52888242532333</cx:pt>
          <cx:pt idx="4602">133.52888242532333</cx:pt>
          <cx:pt idx="4603">133.52888242532333</cx:pt>
          <cx:pt idx="4604">133.52888242532333</cx:pt>
          <cx:pt idx="4605">133.48421797663826</cx:pt>
          <cx:pt idx="4606">133.48421797663826</cx:pt>
          <cx:pt idx="4607">133.45375940946181</cx:pt>
          <cx:pt idx="4608">133.3425095709222</cx:pt>
          <cx:pt idx="4609">133.3097422076824</cx:pt>
          <cx:pt idx="4610">133.3097422076824</cx:pt>
          <cx:pt idx="4611">133.3097422076824</cx:pt>
          <cx:pt idx="4612">132.90093778590366</cx:pt>
          <cx:pt idx="4613">132.69980800397599</cx:pt>
          <cx:pt idx="4614">132.47731776628265</cx:pt>
          <cx:pt idx="4615">132.47731776628265</cx:pt>
          <cx:pt idx="4616">132.07606652141899</cx:pt>
          <cx:pt idx="4617">132.07606652141899</cx:pt>
          <cx:pt idx="4618">131.89140517066224</cx:pt>
          <cx:pt idx="4619">131.71889624807483</cx:pt>
          <cx:pt idx="4620">131.63659507914358</cx:pt>
          <cx:pt idx="4621">131.63135336504126</cx:pt>
          <cx:pt idx="4622">131.50475985355621</cx:pt>
          <cx:pt idx="4623">131.35207662029376</cx:pt>
          <cx:pt idx="4624">131.17098040857499</cx:pt>
          <cx:pt idx="4625">131.1218844951992</cx:pt>
          <cx:pt idx="4626">131.1218844951992</cx:pt>
          <cx:pt idx="4627">131.1218844951992</cx:pt>
          <cx:pt idx="4628">131.1218844951992</cx:pt>
          <cx:pt idx="4629">131.08380086253226</cx:pt>
          <cx:pt idx="4630">131.08380086253226</cx:pt>
          <cx:pt idx="4631">131.08380086253226</cx:pt>
          <cx:pt idx="4632">131.08380086253226</cx:pt>
          <cx:pt idx="4633">131.08380086253226</cx:pt>
          <cx:pt idx="4634">131.08380086253226</cx:pt>
          <cx:pt idx="4635">130.9223522337065</cx:pt>
          <cx:pt idx="4636">130.9223522337065</cx:pt>
          <cx:pt idx="4637">130.70304645494926</cx:pt>
          <cx:pt idx="4638">130.70304645494926</cx:pt>
          <cx:pt idx="4639">130.36063189332501</cx:pt>
          <cx:pt idx="4640">130.29966693474501</cx:pt>
          <cx:pt idx="4641">130.1649623436212</cx:pt>
          <cx:pt idx="4642">130.1649623436212</cx:pt>
          <cx:pt idx="4643">129.5948712244745</cx:pt>
          <cx:pt idx="4644">129.5948712244745</cx:pt>
          <cx:pt idx="4645">129.5948712244745</cx:pt>
          <cx:pt idx="4646">129.5948712244745</cx:pt>
          <cx:pt idx="4647">129.5948712244745</cx:pt>
          <cx:pt idx="4648">129.5948712244745</cx:pt>
          <cx:pt idx="4649">129.5948712244745</cx:pt>
          <cx:pt idx="4650">129.37092499191584</cx:pt>
          <cx:pt idx="4651">129.301126533244</cx:pt>
          <cx:pt idx="4652">129.16608046294158</cx:pt>
          <cx:pt idx="4653">128.89520504216458</cx:pt>
          <cx:pt idx="4654">128.8551974222575</cx:pt>
          <cx:pt idx="4655">128.81861550929199</cx:pt>
          <cx:pt idx="4656">128.81861550929199</cx:pt>
          <cx:pt idx="4657">128.81861550929199</cx:pt>
          <cx:pt idx="4658">128.81861550929199</cx:pt>
          <cx:pt idx="4659">128.81861550929199</cx:pt>
          <cx:pt idx="4660">128.81861550929199</cx:pt>
          <cx:pt idx="4661">128.81861550929199</cx:pt>
          <cx:pt idx="4662">128.81861550929199</cx:pt>
          <cx:pt idx="4663">128.81861550929199</cx:pt>
          <cx:pt idx="4664">128.81861550929199</cx:pt>
          <cx:pt idx="4665">128.81861550929199</cx:pt>
          <cx:pt idx="4666">128.81861550929199</cx:pt>
          <cx:pt idx="4667">128.81861550929199</cx:pt>
          <cx:pt idx="4668">128.81861550929199</cx:pt>
          <cx:pt idx="4669">128.81861550929199</cx:pt>
          <cx:pt idx="4670">128.81861550929199</cx:pt>
          <cx:pt idx="4671">128.81861550929199</cx:pt>
          <cx:pt idx="4672">128.81861550929199</cx:pt>
          <cx:pt idx="4673">128.81861550929199</cx:pt>
          <cx:pt idx="4674">128.81861550929199</cx:pt>
          <cx:pt idx="4675">128.81861550929199</cx:pt>
          <cx:pt idx="4676">128.26364796373801</cx:pt>
          <cx:pt idx="4677">128.26364796373801</cx:pt>
          <cx:pt idx="4678">128.26364796373801</cx:pt>
          <cx:pt idx="4679">128.26364796373801</cx:pt>
          <cx:pt idx="4680">128.26364796373801</cx:pt>
          <cx:pt idx="4681">128.26364796373801</cx:pt>
          <cx:pt idx="4682">128.26364796373801</cx:pt>
          <cx:pt idx="4683">128.26364796373801</cx:pt>
          <cx:pt idx="4684">128.26364796373801</cx:pt>
          <cx:pt idx="4685">128.26364796373801</cx:pt>
          <cx:pt idx="4686">128.26364796373801</cx:pt>
          <cx:pt idx="4687">128.26364796373801</cx:pt>
          <cx:pt idx="4688">128.26364796373801</cx:pt>
          <cx:pt idx="4689">128.26364796373801</cx:pt>
          <cx:pt idx="4690">128.26364796373801</cx:pt>
          <cx:pt idx="4691">128.26364796373801</cx:pt>
          <cx:pt idx="4692">128.26364796373801</cx:pt>
          <cx:pt idx="4693">128.26364796373801</cx:pt>
          <cx:pt idx="4694">128.26364796373801</cx:pt>
          <cx:pt idx="4695">128.26364796373801</cx:pt>
          <cx:pt idx="4696">128.26364796373801</cx:pt>
          <cx:pt idx="4697">128.26364796373801</cx:pt>
          <cx:pt idx="4698">127.94734348448274</cx:pt>
          <cx:pt idx="4699">127.7385945981145</cx:pt>
          <cx:pt idx="4700">127.18680889965449</cx:pt>
          <cx:pt idx="4701">127.18680889965449</cx:pt>
          <cx:pt idx="4702">127.18680889965449</cx:pt>
          <cx:pt idx="4703">127.18680889965449</cx:pt>
          <cx:pt idx="4704">127.05152675833928</cx:pt>
          <cx:pt idx="4705">127.0264708782596</cx:pt>
          <cx:pt idx="4706">127.0264708782596</cx:pt>
          <cx:pt idx="4707">127.0264708782596</cx:pt>
          <cx:pt idx="4708">127.025174673237</cx:pt>
          <cx:pt idx="4709">127.025174673237</cx:pt>
          <cx:pt idx="4710">127.025174673237</cx:pt>
          <cx:pt idx="4711">127.025174673237</cx:pt>
          <cx:pt idx="4712">127.025174673237</cx:pt>
          <cx:pt idx="4713">127.025174673237</cx:pt>
          <cx:pt idx="4714">127.025174673237</cx:pt>
          <cx:pt idx="4715">126.94939027185933</cx:pt>
          <cx:pt idx="4716">126.561610410724</cx:pt>
          <cx:pt idx="4717">126.561610410724</cx:pt>
          <cx:pt idx="4718">126.561610410724</cx:pt>
          <cx:pt idx="4719">126.561610410724</cx:pt>
          <cx:pt idx="4720">126.561610410724</cx:pt>
          <cx:pt idx="4721">126.561610410724</cx:pt>
          <cx:pt idx="4722">126.561610410724</cx:pt>
          <cx:pt idx="4723">126.561610410724</cx:pt>
          <cx:pt idx="4724">126.561610410724</cx:pt>
          <cx:pt idx="4725">126.561610410724</cx:pt>
          <cx:pt idx="4726">126.561610410724</cx:pt>
          <cx:pt idx="4727">126.561610410724</cx:pt>
          <cx:pt idx="4728">126.561610410724</cx:pt>
          <cx:pt idx="4729">126.561610410724</cx:pt>
          <cx:pt idx="4730">126.561610410724</cx:pt>
          <cx:pt idx="4731">126.561610410724</cx:pt>
          <cx:pt idx="4732">126.561610410724</cx:pt>
          <cx:pt idx="4733">126.561610410724</cx:pt>
          <cx:pt idx="4734">126.561610410724</cx:pt>
          <cx:pt idx="4735">126.561610410724</cx:pt>
          <cx:pt idx="4736">126.55758032761325</cx:pt>
          <cx:pt idx="4737">126.47949795956943</cx:pt>
          <cx:pt idx="4738">126.47527998217475</cx:pt>
          <cx:pt idx="4739">126.338926692654</cx:pt>
          <cx:pt idx="4740">126.338926692654</cx:pt>
          <cx:pt idx="4741">126.338926692654</cx:pt>
          <cx:pt idx="4742">126.338926692654</cx:pt>
          <cx:pt idx="4743">126.338926692654</cx:pt>
          <cx:pt idx="4744">126.338926692654</cx:pt>
          <cx:pt idx="4745">126.338926692654</cx:pt>
          <cx:pt idx="4746">126.319821766426</cx:pt>
          <cx:pt idx="4747">125.815856693405</cx:pt>
          <cx:pt idx="4748">125.652512243819</cx:pt>
          <cx:pt idx="4749">125.49738011173116</cx:pt>
          <cx:pt idx="4750">125.11162090870801</cx:pt>
          <cx:pt idx="4751">125.11162090870801</cx:pt>
          <cx:pt idx="4752">125.11162090870801</cx:pt>
          <cx:pt idx="4753">125.11162090870801</cx:pt>
          <cx:pt idx="4754">125.11162090870801</cx:pt>
          <cx:pt idx="4755">125.11162090870801</cx:pt>
          <cx:pt idx="4756">125.11162090870801</cx:pt>
          <cx:pt idx="4757">125.11162090870801</cx:pt>
          <cx:pt idx="4758">125.11162090870801</cx:pt>
          <cx:pt idx="4759">125.11162090870801</cx:pt>
          <cx:pt idx="4760">125.11162090870801</cx:pt>
          <cx:pt idx="4761">125.11162090870801</cx:pt>
          <cx:pt idx="4762">125.11162090870801</cx:pt>
          <cx:pt idx="4763">125.11162090870801</cx:pt>
          <cx:pt idx="4764">125.11162090870801</cx:pt>
          <cx:pt idx="4765">125.11162090870801</cx:pt>
          <cx:pt idx="4766">125.11162090870801</cx:pt>
          <cx:pt idx="4767">125.11162090870801</cx:pt>
          <cx:pt idx="4768">125.11162090870801</cx:pt>
          <cx:pt idx="4769">125.11162090870801</cx:pt>
          <cx:pt idx="4770">125.11162090870801</cx:pt>
          <cx:pt idx="4771">125.11162090870801</cx:pt>
          <cx:pt idx="4772">125.11162090870801</cx:pt>
          <cx:pt idx="4773">125.11162090870801</cx:pt>
          <cx:pt idx="4774">125.11162090870801</cx:pt>
          <cx:pt idx="4775">125.11162090870801</cx:pt>
          <cx:pt idx="4776">125.11162090870801</cx:pt>
          <cx:pt idx="4777">125.11162090870801</cx:pt>
          <cx:pt idx="4778">125.11162090870801</cx:pt>
          <cx:pt idx="4779">125.11162090870801</cx:pt>
          <cx:pt idx="4780">125.098476775351</cx:pt>
          <cx:pt idx="4781">125.0164732585385</cx:pt>
          <cx:pt idx="4782">124.75266661267499</cx:pt>
          <cx:pt idx="4783">124.43665955476075</cx:pt>
          <cx:pt idx="4784">124.3501764773211</cx:pt>
          <cx:pt idx="4785">124.2939105576576</cx:pt>
          <cx:pt idx="4786">124.2939105576576</cx:pt>
          <cx:pt idx="4787">124.2928376336034</cx:pt>
          <cx:pt idx="4788">124.095617112485</cx:pt>
          <cx:pt idx="4789">124.01236555768968</cx:pt>
          <cx:pt idx="4790">124.01236555768968</cx:pt>
          <cx:pt idx="4791">124.01236555768968</cx:pt>
          <cx:pt idx="4792">124.01236555768968</cx:pt>
          <cx:pt idx="4793">124.01236555768968</cx:pt>
          <cx:pt idx="4794">124.01236555768968</cx:pt>
          <cx:pt idx="4795">124.01236555768968</cx:pt>
          <cx:pt idx="4796">124.01236555768968</cx:pt>
          <cx:pt idx="4797">124.01236555768968</cx:pt>
          <cx:pt idx="4798">124.01236555768968</cx:pt>
          <cx:pt idx="4799">123.89796660392163</cx:pt>
          <cx:pt idx="4800">123.89154853661101</cx:pt>
          <cx:pt idx="4801">123.89154853661101</cx:pt>
          <cx:pt idx="4802">123.89154853661101</cx:pt>
          <cx:pt idx="4803">123.798912741877</cx:pt>
          <cx:pt idx="4804">123.54486121588268</cx:pt>
          <cx:pt idx="4805">123.54486121588268</cx:pt>
          <cx:pt idx="4806">123.52545894477799</cx:pt>
          <cx:pt idx="4807">123.52545894477799</cx:pt>
          <cx:pt idx="4808">123.52545894477799</cx:pt>
          <cx:pt idx="4809">123.52545894477799</cx:pt>
          <cx:pt idx="4810">123.52545894477799</cx:pt>
          <cx:pt idx="4811">123.52545894477799</cx:pt>
          <cx:pt idx="4812">123.52545894477799</cx:pt>
          <cx:pt idx="4813">123.52545894477799</cx:pt>
          <cx:pt idx="4814">123.47155721500556</cx:pt>
          <cx:pt idx="4815">123.1621220581608</cx:pt>
          <cx:pt idx="4816">123.119881116716</cx:pt>
          <cx:pt idx="4817">123.119881116716</cx:pt>
          <cx:pt idx="4818">123.119881116716</cx:pt>
          <cx:pt idx="4819">123.119881116716</cx:pt>
          <cx:pt idx="4820">123.119881116716</cx:pt>
          <cx:pt idx="4821">122.94690086694041</cx:pt>
          <cx:pt idx="4822">122.91401972625575</cx:pt>
          <cx:pt idx="4823">122.91401972625575</cx:pt>
          <cx:pt idx="4824">122.91401972625575</cx:pt>
          <cx:pt idx="4825">122.91401972625575</cx:pt>
          <cx:pt idx="4826">122.91401972625575</cx:pt>
          <cx:pt idx="4827">122.61461213107251</cx:pt>
          <cx:pt idx="4828">122.61461213107251</cx:pt>
          <cx:pt idx="4829">122.5734716647589</cx:pt>
          <cx:pt idx="4830">122.04637026272157</cx:pt>
          <cx:pt idx="4831">121.95916672197234</cx:pt>
          <cx:pt idx="4832">121.95916672197234</cx:pt>
          <cx:pt idx="4833">121.95916672197234</cx:pt>
          <cx:pt idx="4834">121.69472582677325</cx:pt>
          <cx:pt idx="4835">121.35532946943367</cx:pt>
          <cx:pt idx="4836">121.209346336126</cx:pt>
          <cx:pt idx="4837">121.09762691921867</cx:pt>
          <cx:pt idx="4838">121.09762691921867</cx:pt>
          <cx:pt idx="4839">121.06873404520641</cx:pt>
          <cx:pt idx="4840">120.98023167641766</cx:pt>
          <cx:pt idx="4841">120.9644491336185</cx:pt>
          <cx:pt idx="4842">120.9644491336185</cx:pt>
          <cx:pt idx="4843">120.9644491336185</cx:pt>
          <cx:pt idx="4844">120.9644491336185</cx:pt>
          <cx:pt idx="4845">120.9644491336185</cx:pt>
          <cx:pt idx="4846">120.9644491336185</cx:pt>
          <cx:pt idx="4847">120.9644491336185</cx:pt>
          <cx:pt idx="4848">120.9644491336185</cx:pt>
          <cx:pt idx="4849">120.9644491336185</cx:pt>
          <cx:pt idx="4850">120.9644491336185</cx:pt>
          <cx:pt idx="4851">120.9644491336185</cx:pt>
          <cx:pt idx="4852">120.9644491336185</cx:pt>
          <cx:pt idx="4853">120.9644491336185</cx:pt>
          <cx:pt idx="4854">120.9644491336185</cx:pt>
          <cx:pt idx="4855">120.9644491336185</cx:pt>
          <cx:pt idx="4856">120.9644491336185</cx:pt>
          <cx:pt idx="4857">120.9644491336185</cx:pt>
          <cx:pt idx="4858">120.94708886647329</cx:pt>
          <cx:pt idx="4859">120.27092613512325</cx:pt>
          <cx:pt idx="4860">120.27092613512325</cx:pt>
          <cx:pt idx="4861">120.27092613512325</cx:pt>
          <cx:pt idx="4862">120.27092613512325</cx:pt>
          <cx:pt idx="4863">120.106516936715</cx:pt>
          <cx:pt idx="4864">119.68270671731349</cx:pt>
          <cx:pt idx="4865">119.66262061887051</cx:pt>
          <cx:pt idx="4866">119.66262061887051</cx:pt>
          <cx:pt idx="4867">119.66262061887051</cx:pt>
          <cx:pt idx="4868">119.6174560978715</cx:pt>
          <cx:pt idx="4869">119.28127604957919</cx:pt>
          <cx:pt idx="4870">119.2659747157045</cx:pt>
          <cx:pt idx="4871">119.2659747157045</cx:pt>
          <cx:pt idx="4872">119.2659747157045</cx:pt>
          <cx:pt idx="4873">119.2659747157045</cx:pt>
          <cx:pt idx="4874">119.214058437714</cx:pt>
          <cx:pt idx="4875">119.02430323995166</cx:pt>
          <cx:pt idx="4876">118.47113524501015</cx:pt>
          <cx:pt idx="4877">118.20932583282843</cx:pt>
          <cx:pt idx="4878">118.1319593780548</cx:pt>
          <cx:pt idx="4879">117.82556429861137</cx:pt>
          <cx:pt idx="4880">117.54492618186443</cx:pt>
          <cx:pt idx="4881">117.40143544688699</cx:pt>
          <cx:pt idx="4882">117.40143544688699</cx:pt>
          <cx:pt idx="4883">117.28328649021539</cx:pt>
          <cx:pt idx="4884">117.0211187532698</cx:pt>
          <cx:pt idx="4885">116.864189350825</cx:pt>
          <cx:pt idx="4886">116.76816261432732</cx:pt>
          <cx:pt idx="4887">116.37931407324533</cx:pt>
          <cx:pt idx="4888">116.37931407324533</cx:pt>
          <cx:pt idx="4889">116.37931407324533</cx:pt>
          <cx:pt idx="4890">116.37931407324533</cx:pt>
          <cx:pt idx="4891">116.37931407324533</cx:pt>
          <cx:pt idx="4892">116.37931407324533</cx:pt>
          <cx:pt idx="4893">116.37931407324533</cx:pt>
          <cx:pt idx="4894">116.37931407324533</cx:pt>
          <cx:pt idx="4895">116.10828706198728</cx:pt>
          <cx:pt idx="4896">116.10828706198728</cx:pt>
          <cx:pt idx="4897">116.03335856062434</cx:pt>
          <cx:pt idx="4898">115.4690055850575</cx:pt>
          <cx:pt idx="4899">115.21660841317301</cx:pt>
          <cx:pt idx="4900">115.21660841317301</cx:pt>
          <cx:pt idx="4901">115.21660841317301</cx:pt>
          <cx:pt idx="4902">115.21660841317301</cx:pt>
          <cx:pt idx="4903">115.21660841317301</cx:pt>
          <cx:pt idx="4904">115.21660841317301</cx:pt>
          <cx:pt idx="4905">115.21660841317301</cx:pt>
          <cx:pt idx="4906">115.21660841317301</cx:pt>
          <cx:pt idx="4907">115.21660841317301</cx:pt>
          <cx:pt idx="4908">115.21660841317301</cx:pt>
          <cx:pt idx="4909">115.21660841317301</cx:pt>
          <cx:pt idx="4910">115.21660841317301</cx:pt>
          <cx:pt idx="4911">115.21660841317301</cx:pt>
          <cx:pt idx="4912">115.10876053557199</cx:pt>
          <cx:pt idx="4913">114.125213081529</cx:pt>
          <cx:pt idx="4914">114.125213081529</cx:pt>
          <cx:pt idx="4915">114.125213081529</cx:pt>
          <cx:pt idx="4916">114.125213081529</cx:pt>
          <cx:pt idx="4917">113.83159921286951</cx:pt>
          <cx:pt idx="4918">113.83159921286951</cx:pt>
          <cx:pt idx="4919">113.83159921286951</cx:pt>
          <cx:pt idx="4920">113.83159921286951</cx:pt>
          <cx:pt idx="4921">113.83159921286951</cx:pt>
          <cx:pt idx="4922">113.71832005059059</cx:pt>
          <cx:pt idx="4923">113.71832005059059</cx:pt>
          <cx:pt idx="4924">113.66351737813</cx:pt>
          <cx:pt idx="4925">112.87385829529288</cx:pt>
          <cx:pt idx="4926">112.69752718404084</cx:pt>
          <cx:pt idx="4927">112.69466840986661</cx:pt>
          <cx:pt idx="4928">112.547468018476</cx:pt>
          <cx:pt idx="4929">112.3698516497725</cx:pt>
          <cx:pt idx="4930">112.3698516497725</cx:pt>
          <cx:pt idx="4931">112.3698516497725</cx:pt>
          <cx:pt idx="4932">112.3698516497725</cx:pt>
          <cx:pt idx="4933">112.3698516497725</cx:pt>
          <cx:pt idx="4934">112.3698516497725</cx:pt>
          <cx:pt idx="4935">112.3698516497725</cx:pt>
          <cx:pt idx="4936">112.3698516497725</cx:pt>
          <cx:pt idx="4937">112.3698516497725</cx:pt>
          <cx:pt idx="4938">112.02079956903376</cx:pt>
          <cx:pt idx="4939">111.667639928048</cx:pt>
          <cx:pt idx="4940">111.31968956824551</cx:pt>
          <cx:pt idx="4941">110.56268445455221</cx:pt>
          <cx:pt idx="4942">110.55776624875017</cx:pt>
          <cx:pt idx="4943">110.4241435861516</cx:pt>
          <cx:pt idx="4944">110.4241435861516</cx:pt>
          <cx:pt idx="4945">110.2025332007634</cx:pt>
          <cx:pt idx="4946">110.1672047871064</cx:pt>
          <cx:pt idx="4947">110.1672047871064</cx:pt>
          <cx:pt idx="4948">109.92258091845413</cx:pt>
          <cx:pt idx="4949">109.91373825695639</cx:pt>
          <cx:pt idx="4950">109.91373825695639</cx:pt>
          <cx:pt idx="4951">109.91373825695639</cx:pt>
          <cx:pt idx="4952">109.91373825695639</cx:pt>
          <cx:pt idx="4953">109.542248966147</cx:pt>
          <cx:pt idx="4954">109.542248966147</cx:pt>
          <cx:pt idx="4955">109.542248966147</cx:pt>
          <cx:pt idx="4956">109.542248966147</cx:pt>
          <cx:pt idx="4957">109.542248966147</cx:pt>
          <cx:pt idx="4958">109.542248966147</cx:pt>
          <cx:pt idx="4959">109.542248966147</cx:pt>
          <cx:pt idx="4960">109.542248966147</cx:pt>
          <cx:pt idx="4961">109.542248966147</cx:pt>
          <cx:pt idx="4962">109.1306397247168</cx:pt>
          <cx:pt idx="4963">108.97528553852381</cx:pt>
          <cx:pt idx="4964">108.97528553852381</cx:pt>
          <cx:pt idx="4965">108.97528553852381</cx:pt>
          <cx:pt idx="4966">108.911665314994</cx:pt>
          <cx:pt idx="4967">108.898043944547</cx:pt>
          <cx:pt idx="4968">108.862017547078</cx:pt>
          <cx:pt idx="4969">108.862017547078</cx:pt>
          <cx:pt idx="4970">108.862017547078</cx:pt>
          <cx:pt idx="4971">108.862017547078</cx:pt>
          <cx:pt idx="4972">108.862017547078</cx:pt>
          <cx:pt idx="4973">108.862017547078</cx:pt>
          <cx:pt idx="4974">108.862017547078</cx:pt>
          <cx:pt idx="4975">108.862017547078</cx:pt>
          <cx:pt idx="4976">108.862017547078</cx:pt>
          <cx:pt idx="4977">108.862017547078</cx:pt>
          <cx:pt idx="4978">108.862017547078</cx:pt>
          <cx:pt idx="4979">108.862017547078</cx:pt>
          <cx:pt idx="4980">108.862017547078</cx:pt>
          <cx:pt idx="4981">108.862017547078</cx:pt>
          <cx:pt idx="4982">108.862017547078</cx:pt>
          <cx:pt idx="4983">108.862017547078</cx:pt>
          <cx:pt idx="4984">108.862017547078</cx:pt>
          <cx:pt idx="4985">108.8299750605505</cx:pt>
          <cx:pt idx="4986">108.8299750605505</cx:pt>
          <cx:pt idx="4987">108.617572377586</cx:pt>
          <cx:pt idx="4988">108.617572377586</cx:pt>
          <cx:pt idx="4989">108.617572377586</cx:pt>
          <cx:pt idx="4990">108.617572377586</cx:pt>
          <cx:pt idx="4991">108.5707128424832</cx:pt>
          <cx:pt idx="4992">108.5707128424832</cx:pt>
          <cx:pt idx="4993">108.315603325433</cx:pt>
          <cx:pt idx="4994">108.315603325433</cx:pt>
          <cx:pt idx="4995">108.315603325433</cx:pt>
          <cx:pt idx="4996">108.28391943015551</cx:pt>
          <cx:pt idx="4997">108.28391943015551</cx:pt>
          <cx:pt idx="4998">108.2385424711085</cx:pt>
          <cx:pt idx="4999">108.2385424711085</cx:pt>
          <cx:pt idx="5000">107.65710822181859</cx:pt>
          <cx:pt idx="5001">107.65710822181859</cx:pt>
          <cx:pt idx="5002">107.65710822181859</cx:pt>
          <cx:pt idx="5003">107.141599790893</cx:pt>
          <cx:pt idx="5004">107.141599790893</cx:pt>
          <cx:pt idx="5005">107.141599790893</cx:pt>
          <cx:pt idx="5006">107.141599790893</cx:pt>
          <cx:pt idx="5007">107.141599790893</cx:pt>
          <cx:pt idx="5008">107.141599790893</cx:pt>
          <cx:pt idx="5009">107.141599790893</cx:pt>
          <cx:pt idx="5010">107.141599790893</cx:pt>
          <cx:pt idx="5011">107.141599790893</cx:pt>
          <cx:pt idx="5012">107.141599790893</cx:pt>
          <cx:pt idx="5013">107.141599790893</cx:pt>
          <cx:pt idx="5014">107.141599790893</cx:pt>
          <cx:pt idx="5015">107.141599790893</cx:pt>
          <cx:pt idx="5016">107.141599790893</cx:pt>
          <cx:pt idx="5017">107.13556019283733</cx:pt>
          <cx:pt idx="5018">107.12104960293701</cx:pt>
          <cx:pt idx="5019">107.12104960293701</cx:pt>
          <cx:pt idx="5020">107.12104960293701</cx:pt>
          <cx:pt idx="5021">106.89103400698426</cx:pt>
          <cx:pt idx="5022">106.6989737038906</cx:pt>
          <cx:pt idx="5023">106.62623156814701</cx:pt>
          <cx:pt idx="5024">106.62623156814701</cx:pt>
          <cx:pt idx="5025">106.62623156814701</cx:pt>
          <cx:pt idx="5026">106.62623156814701</cx:pt>
          <cx:pt idx="5027">106.62623156814701</cx:pt>
          <cx:pt idx="5028">106.62623156814701</cx:pt>
          <cx:pt idx="5029">106.62623156814701</cx:pt>
          <cx:pt idx="5030">106.62623156814701</cx:pt>
          <cx:pt idx="5031">106.62623156814701</cx:pt>
          <cx:pt idx="5032">106.62623156814701</cx:pt>
          <cx:pt idx="5033">106.62623156814701</cx:pt>
          <cx:pt idx="5034">106.62623156814701</cx:pt>
          <cx:pt idx="5035">106.62623156814701</cx:pt>
          <cx:pt idx="5036">106.62623156814701</cx:pt>
          <cx:pt idx="5037">106.62623156814701</cx:pt>
          <cx:pt idx="5038">106.62623156814701</cx:pt>
          <cx:pt idx="5039">106.62623156814701</cx:pt>
          <cx:pt idx="5040">106.62623156814701</cx:pt>
          <cx:pt idx="5041">106.62623156814701</cx:pt>
          <cx:pt idx="5042">106.62623156814701</cx:pt>
          <cx:pt idx="5043">106.62623156814701</cx:pt>
          <cx:pt idx="5044">106.62623156814701</cx:pt>
          <cx:pt idx="5045">106.62623156814701</cx:pt>
          <cx:pt idx="5046">106.62623156814701</cx:pt>
          <cx:pt idx="5047">106.504323085694</cx:pt>
          <cx:pt idx="5048">106.504323085694</cx:pt>
          <cx:pt idx="5049">106.504323085694</cx:pt>
          <cx:pt idx="5050">106.504323085694</cx:pt>
          <cx:pt idx="5051">106.504323085694</cx:pt>
          <cx:pt idx="5052">106.504323085694</cx:pt>
          <cx:pt idx="5053">106.504323085694</cx:pt>
          <cx:pt idx="5054">106.504323085694</cx:pt>
          <cx:pt idx="5055">106.504323085694</cx:pt>
          <cx:pt idx="5056">106.504323085694</cx:pt>
          <cx:pt idx="5057">106.4331863225805</cx:pt>
          <cx:pt idx="5058">106.4331863225805</cx:pt>
          <cx:pt idx="5059">106.4331863225805</cx:pt>
          <cx:pt idx="5060">106.4331863225805</cx:pt>
          <cx:pt idx="5061">106.07933734187657</cx:pt>
          <cx:pt idx="5062">105.95988116353334</cx:pt>
          <cx:pt idx="5063">105.95988116353334</cx:pt>
          <cx:pt idx="5064">105.95988116353334</cx:pt>
          <cx:pt idx="5065">105.95988116353334</cx:pt>
          <cx:pt idx="5066">105.95988116353334</cx:pt>
          <cx:pt idx="5067">105.95988116353334</cx:pt>
          <cx:pt idx="5068">105.95988116353334</cx:pt>
          <cx:pt idx="5069">105.95988116353334</cx:pt>
          <cx:pt idx="5070">105.95988116353334</cx:pt>
          <cx:pt idx="5071">105.95988116353334</cx:pt>
          <cx:pt idx="5072">105.95988116353334</cx:pt>
          <cx:pt idx="5073">105.95988116353334</cx:pt>
          <cx:pt idx="5074">105.68451847030181</cx:pt>
          <cx:pt idx="5075">105.11281011245259</cx:pt>
          <cx:pt idx="5076">105.11281011245259</cx:pt>
          <cx:pt idx="5077">104.73305863364875</cx:pt>
          <cx:pt idx="5078">104.70832495313908</cx:pt>
          <cx:pt idx="5079">104.65323525898999</cx:pt>
          <cx:pt idx="5080">104.65323525898999</cx:pt>
          <cx:pt idx="5081">104.61312473259925</cx:pt>
          <cx:pt idx="5082">104.556329143697</cx:pt>
          <cx:pt idx="5083">104.556329143697</cx:pt>
          <cx:pt idx="5084">104.556329143697</cx:pt>
          <cx:pt idx="5085">104.556329143697</cx:pt>
          <cx:pt idx="5086">104.556329143697</cx:pt>
          <cx:pt idx="5087">104.556329143697</cx:pt>
          <cx:pt idx="5088">104.556329143697</cx:pt>
          <cx:pt idx="5089">104.556329143697</cx:pt>
          <cx:pt idx="5090">104.556329143697</cx:pt>
          <cx:pt idx="5091">104.556329143697</cx:pt>
          <cx:pt idx="5092">104.556329143697</cx:pt>
          <cx:pt idx="5093">104.556329143697</cx:pt>
          <cx:pt idx="5094">104.556329143697</cx:pt>
          <cx:pt idx="5095">104.556329143697</cx:pt>
          <cx:pt idx="5096">104.42189639323099</cx:pt>
          <cx:pt idx="5097">103.80214628526143</cx:pt>
          <cx:pt idx="5098">102.872599562164</cx:pt>
          <cx:pt idx="5099">102.872599562164</cx:pt>
          <cx:pt idx="5100">102.7970687874775</cx:pt>
          <cx:pt idx="5101">102.7970687874775</cx:pt>
          <cx:pt idx="5102">102.7970687874775</cx:pt>
          <cx:pt idx="5103">102.7970687874775</cx:pt>
          <cx:pt idx="5104">102.7970687874775</cx:pt>
          <cx:pt idx="5105">102.7970687874775</cx:pt>
          <cx:pt idx="5106">102.7970687874775</cx:pt>
          <cx:pt idx="5107">102.7970687874775</cx:pt>
          <cx:pt idx="5108">102.7970687874775</cx:pt>
          <cx:pt idx="5109">102.7970687874775</cx:pt>
          <cx:pt idx="5110">102.7970687874775</cx:pt>
          <cx:pt idx="5111">102.7970687874775</cx:pt>
          <cx:pt idx="5112">102.7970687874775</cx:pt>
          <cx:pt idx="5113">102.7970687874775</cx:pt>
          <cx:pt idx="5114">102.7970687874775</cx:pt>
          <cx:pt idx="5115">102.7970687874775</cx:pt>
          <cx:pt idx="5116">102.7970687874775</cx:pt>
          <cx:pt idx="5117">102.7970687874775</cx:pt>
          <cx:pt idx="5118">102.502211492504</cx:pt>
          <cx:pt idx="5119">102.23416750522875</cx:pt>
          <cx:pt idx="5120">101.73972189258113</cx:pt>
          <cx:pt idx="5121">101.3670572806592</cx:pt>
          <cx:pt idx="5122">101.3670572806592</cx:pt>
          <cx:pt idx="5123">101.3670572806592</cx:pt>
          <cx:pt idx="5124">101.08741165082684</cx:pt>
          <cx:pt idx="5125">101.08741165082684</cx:pt>
          <cx:pt idx="5126">100.80076341530467</cx:pt>
          <cx:pt idx="5127">100.80076341530467</cx:pt>
          <cx:pt idx="5128">100.57346893498334</cx:pt>
          <cx:pt idx="5129">100.51112945434301</cx:pt>
          <cx:pt idx="5130">100.45859544526701</cx:pt>
          <cx:pt idx="5131">100.334633133465</cx:pt>
          <cx:pt idx="5132">100.334633133465</cx:pt>
          <cx:pt idx="5133">100.334633133465</cx:pt>
          <cx:pt idx="5134">100.334633133465</cx:pt>
          <cx:pt idx="5135">100.334633133465</cx:pt>
          <cx:pt idx="5136">100.334633133465</cx:pt>
          <cx:pt idx="5137">100.334633133465</cx:pt>
          <cx:pt idx="5138">100.334633133465</cx:pt>
          <cx:pt idx="5139">100.334633133465</cx:pt>
          <cx:pt idx="5140">100.334633133465</cx:pt>
          <cx:pt idx="5141">100.334633133465</cx:pt>
          <cx:pt idx="5142">100.334633133465</cx:pt>
          <cx:pt idx="5143">100.334633133465</cx:pt>
          <cx:pt idx="5144">100.334633133465</cx:pt>
          <cx:pt idx="5145">100.09640852039161</cx:pt>
          <cx:pt idx="5146">99.68312111227516</cx:pt>
          <cx:pt idx="5147">99.549426581222605</cx:pt>
          <cx:pt idx="5148">98.939655901635007</cx:pt>
          <cx:pt idx="5149">98.939655901635007</cx:pt>
          <cx:pt idx="5150">98.939655901635007</cx:pt>
          <cx:pt idx="5151">98.939655901635007</cx:pt>
          <cx:pt idx="5152">98.939655901635007</cx:pt>
          <cx:pt idx="5153">98.939655901635007</cx:pt>
          <cx:pt idx="5154">98.902498904458497</cx:pt>
          <cx:pt idx="5155">98.769792221128</cx:pt>
          <cx:pt idx="5156">98.769792221128</cx:pt>
          <cx:pt idx="5157">98.509598694470995</cx:pt>
          <cx:pt idx="5158">98.509598694470995</cx:pt>
          <cx:pt idx="5159">98.509598694470995</cx:pt>
          <cx:pt idx="5160">98.509598694470995</cx:pt>
          <cx:pt idx="5161">98.509598694470995</cx:pt>
          <cx:pt idx="5162">98.509598694470995</cx:pt>
          <cx:pt idx="5163">98.509598694470995</cx:pt>
          <cx:pt idx="5164">98.509598694470995</cx:pt>
          <cx:pt idx="5165">98.509598694470995</cx:pt>
          <cx:pt idx="5166">98.509598694470995</cx:pt>
          <cx:pt idx="5167">98.509598694470995</cx:pt>
          <cx:pt idx="5168">98.509598694470995</cx:pt>
          <cx:pt idx="5169">98.509598694470995</cx:pt>
          <cx:pt idx="5170">98.509598694470995</cx:pt>
          <cx:pt idx="5171">98.407741750236013</cx:pt>
          <cx:pt idx="5172">98.30440568360099</cx:pt>
          <cx:pt idx="5173">98.30440568360099</cx:pt>
          <cx:pt idx="5174">98.30440568360099</cx:pt>
          <cx:pt idx="5175">97.946281877710319</cx:pt>
          <cx:pt idx="5176">97.946281877710319</cx:pt>
          <cx:pt idx="5177">97.946281877710319</cx:pt>
          <cx:pt idx="5178">97.946281877710319</cx:pt>
          <cx:pt idx="5179">97.946281877710319</cx:pt>
          <cx:pt idx="5180">97.946281877710319</cx:pt>
          <cx:pt idx="5181">97.946281877710319</cx:pt>
          <cx:pt idx="5182">97.946281877710319</cx:pt>
          <cx:pt idx="5183">97.946281877710319</cx:pt>
          <cx:pt idx="5184">97.946281877710319</cx:pt>
          <cx:pt idx="5185">97.946281877710319</cx:pt>
          <cx:pt idx="5186">97.946281877710319</cx:pt>
          <cx:pt idx="5187">97.946281877710319</cx:pt>
          <cx:pt idx="5188">97.946281877710319</cx:pt>
          <cx:pt idx="5189">97.946281877710319</cx:pt>
          <cx:pt idx="5190">97.946281877710319</cx:pt>
          <cx:pt idx="5191">97.693205718635497</cx:pt>
          <cx:pt idx="5192">97.628680921322001</cx:pt>
          <cx:pt idx="5193">97.628680921322001</cx:pt>
          <cx:pt idx="5194">97.628680921322001</cx:pt>
          <cx:pt idx="5195">97.628680921322001</cx:pt>
          <cx:pt idx="5196">97.628680921322001</cx:pt>
          <cx:pt idx="5197">97.628680921322001</cx:pt>
          <cx:pt idx="5198">97.409474083507504</cx:pt>
          <cx:pt idx="5199">97.409474083507504</cx:pt>
          <cx:pt idx="5200">97.320091671821672</cx:pt>
          <cx:pt idx="5201">97.030027842343756</cx:pt>
          <cx:pt idx="5202">97.030027842343756</cx:pt>
          <cx:pt idx="5203">97.007113909680498</cx:pt>
          <cx:pt idx="5204">97.007113909680498</cx:pt>
          <cx:pt idx="5205">97.007113909680498</cx:pt>
          <cx:pt idx="5206">97.007113909680498</cx:pt>
          <cx:pt idx="5207">97.007113909680498</cx:pt>
          <cx:pt idx="5208">97.007113909680498</cx:pt>
          <cx:pt idx="5209">97.007113909680498</cx:pt>
          <cx:pt idx="5210">97.007113909680498</cx:pt>
          <cx:pt idx="5211">97.007113909680498</cx:pt>
          <cx:pt idx="5212">97.007113909680498</cx:pt>
          <cx:pt idx="5213">97.007113909680498</cx:pt>
          <cx:pt idx="5214">97.007113909680498</cx:pt>
          <cx:pt idx="5215">97.007113909680498</cx:pt>
          <cx:pt idx="5216">97.007113909680498</cx:pt>
          <cx:pt idx="5217">97.007113909680498</cx:pt>
          <cx:pt idx="5218">97.007113909680498</cx:pt>
          <cx:pt idx="5219">97.007113909680498</cx:pt>
          <cx:pt idx="5220">97.007113909680498</cx:pt>
          <cx:pt idx="5221">97.007113909680498</cx:pt>
          <cx:pt idx="5222">97.007113909680498</cx:pt>
          <cx:pt idx="5223">96.803719842841204</cx:pt>
          <cx:pt idx="5224">96.77845587761567</cx:pt>
          <cx:pt idx="5225">96.686584619845803</cx:pt>
          <cx:pt idx="5226">96.686584619845803</cx:pt>
          <cx:pt idx="5227">96.686584619845803</cx:pt>
          <cx:pt idx="5228">96.686584619845803</cx:pt>
          <cx:pt idx="5229">96.686584619845803</cx:pt>
          <cx:pt idx="5230">96.686584619845803</cx:pt>
          <cx:pt idx="5231">96.686584619845803</cx:pt>
          <cx:pt idx="5232">96.686584619845803</cx:pt>
          <cx:pt idx="5233">96.686584619845803</cx:pt>
          <cx:pt idx="5234">96.686584619845803</cx:pt>
          <cx:pt idx="5235">96.686584619845803</cx:pt>
          <cx:pt idx="5236">96.686584619845803</cx:pt>
          <cx:pt idx="5237">96.686584619845803</cx:pt>
          <cx:pt idx="5238">96.686584619845803</cx:pt>
          <cx:pt idx="5239">96.686584619845803</cx:pt>
          <cx:pt idx="5240">96.686584619845803</cx:pt>
          <cx:pt idx="5241">96.686584619845803</cx:pt>
          <cx:pt idx="5242">96.686584619845803</cx:pt>
          <cx:pt idx="5243">96.686584619845803</cx:pt>
          <cx:pt idx="5244">96.686584619845803</cx:pt>
          <cx:pt idx="5245">96.686584619845803</cx:pt>
          <cx:pt idx="5246">96.686584619845803</cx:pt>
          <cx:pt idx="5247">96.686584619845803</cx:pt>
          <cx:pt idx="5248">96.686584619845803</cx:pt>
          <cx:pt idx="5249">96.686584619845803</cx:pt>
          <cx:pt idx="5250">96.686584619845803</cx:pt>
          <cx:pt idx="5251">96.686584619845803</cx:pt>
          <cx:pt idx="5252">96.686584619845803</cx:pt>
          <cx:pt idx="5253">96.686584619845803</cx:pt>
          <cx:pt idx="5254">96.686584619845803</cx:pt>
          <cx:pt idx="5255">96.686584619845803</cx:pt>
          <cx:pt idx="5256">96.686584619845803</cx:pt>
          <cx:pt idx="5257">96.686584619845803</cx:pt>
          <cx:pt idx="5258">96.686584619845803</cx:pt>
          <cx:pt idx="5259">96.686584619845803</cx:pt>
          <cx:pt idx="5260">96.686584619845803</cx:pt>
          <cx:pt idx="5261">96.686584619845803</cx:pt>
          <cx:pt idx="5262">96.686584619845803</cx:pt>
          <cx:pt idx="5263">96.686584619845803</cx:pt>
          <cx:pt idx="5264">96.686584619845803</cx:pt>
          <cx:pt idx="5265">96.686584619845803</cx:pt>
          <cx:pt idx="5266">96.686584619845803</cx:pt>
          <cx:pt idx="5267">96.686584619845803</cx:pt>
          <cx:pt idx="5268">96.686584619845803</cx:pt>
          <cx:pt idx="5269">96.686584619845803</cx:pt>
          <cx:pt idx="5270">96.686584619845803</cx:pt>
          <cx:pt idx="5271">96.686584619845803</cx:pt>
          <cx:pt idx="5272">96.686584619845803</cx:pt>
          <cx:pt idx="5273">96.686584619845803</cx:pt>
          <cx:pt idx="5274">96.686584619845803</cx:pt>
          <cx:pt idx="5275">96.686584619845803</cx:pt>
          <cx:pt idx="5276">96.686584619845803</cx:pt>
          <cx:pt idx="5277">96.686584619845803</cx:pt>
          <cx:pt idx="5278">96.686584619845803</cx:pt>
          <cx:pt idx="5279">96.686584619845803</cx:pt>
          <cx:pt idx="5280">96.686584619845803</cx:pt>
          <cx:pt idx="5281">96.686584619845803</cx:pt>
          <cx:pt idx="5282">96.686584619845803</cx:pt>
          <cx:pt idx="5283">96.544777617828757</cx:pt>
          <cx:pt idx="5284">96.475597025629</cx:pt>
          <cx:pt idx="5285">96.424490370140006</cx:pt>
          <cx:pt idx="5286">96.32722070691139</cx:pt>
          <cx:pt idx="5287">96.256884394361506</cx:pt>
          <cx:pt idx="5288">96.256884394361506</cx:pt>
          <cx:pt idx="5289">96.256884394361506</cx:pt>
          <cx:pt idx="5290">96.256884394361506</cx:pt>
          <cx:pt idx="5291">96.256884394361506</cx:pt>
          <cx:pt idx="5292">96.256884394361506</cx:pt>
          <cx:pt idx="5293">96.256884394361506</cx:pt>
          <cx:pt idx="5294">96.256884394361506</cx:pt>
          <cx:pt idx="5295">96.256884394361506</cx:pt>
          <cx:pt idx="5296">96.256884394361506</cx:pt>
          <cx:pt idx="5297">96.256884394361506</cx:pt>
          <cx:pt idx="5298">96.256884394361506</cx:pt>
          <cx:pt idx="5299">96.256884394361506</cx:pt>
          <cx:pt idx="5300">96.256884394361506</cx:pt>
          <cx:pt idx="5301">96.256884394361506</cx:pt>
          <cx:pt idx="5302">96.256884394361506</cx:pt>
          <cx:pt idx="5303">96.256884394361506</cx:pt>
          <cx:pt idx="5304">96.256884394361506</cx:pt>
          <cx:pt idx="5305">96.256884394361506</cx:pt>
          <cx:pt idx="5306">96.256884394361506</cx:pt>
          <cx:pt idx="5307">96.256884394361506</cx:pt>
          <cx:pt idx="5308">96.256884394361506</cx:pt>
          <cx:pt idx="5309">96.256884394361506</cx:pt>
          <cx:pt idx="5310">96.256884394361506</cx:pt>
          <cx:pt idx="5311">96.256884394361506</cx:pt>
          <cx:pt idx="5312">96.256884394361506</cx:pt>
          <cx:pt idx="5313">96.256884394361506</cx:pt>
          <cx:pt idx="5314">96.256884394361506</cx:pt>
          <cx:pt idx="5315">96.256884394361506</cx:pt>
          <cx:pt idx="5316">96.256884394361506</cx:pt>
          <cx:pt idx="5317">96.256884394361506</cx:pt>
          <cx:pt idx="5318">96.256884394361506</cx:pt>
          <cx:pt idx="5319">96.256884394361506</cx:pt>
          <cx:pt idx="5320">96.256884394361506</cx:pt>
          <cx:pt idx="5321">96.256884394361506</cx:pt>
          <cx:pt idx="5322">96.225979596219503</cx:pt>
          <cx:pt idx="5323">96.199194377290993</cx:pt>
          <cx:pt idx="5324">96.107443489092347</cx:pt>
          <cx:pt idx="5325">96.107443489092347</cx:pt>
          <cx:pt idx="5326">96.107443489092347</cx:pt>
          <cx:pt idx="5327">96.107443489092347</cx:pt>
          <cx:pt idx="5328">96.107443489092347</cx:pt>
          <cx:pt idx="5329">96.107443489092347</cx:pt>
          <cx:pt idx="5330">96.107443489092347</cx:pt>
          <cx:pt idx="5331">96.077330062109993</cx:pt>
          <cx:pt idx="5332">96.070745631468995</cx:pt>
          <cx:pt idx="5333">95.837315963464746</cx:pt>
          <cx:pt idx="5334">95.837315963464746</cx:pt>
          <cx:pt idx="5335">95.837315963464746</cx:pt>
          <cx:pt idx="5336">95.837315963464746</cx:pt>
          <cx:pt idx="5337">94.7951368312645</cx:pt>
          <cx:pt idx="5338">94.7951368312645</cx:pt>
          <cx:pt idx="5339">94.7951368312645</cx:pt>
          <cx:pt idx="5340">94.7951368312645</cx:pt>
          <cx:pt idx="5341">94.7951368312645</cx:pt>
          <cx:pt idx="5342">94.7951368312645</cx:pt>
          <cx:pt idx="5343">94.7951368312645</cx:pt>
          <cx:pt idx="5344">94.7951368312645</cx:pt>
          <cx:pt idx="5345">94.7951368312645</cx:pt>
          <cx:pt idx="5346">94.7951368312645</cx:pt>
          <cx:pt idx="5347">94.7951368312645</cx:pt>
          <cx:pt idx="5348">94.7951368312645</cx:pt>
          <cx:pt idx="5349">94.7951368312645</cx:pt>
          <cx:pt idx="5350">94.7951368312645</cx:pt>
          <cx:pt idx="5351">94.7951368312645</cx:pt>
          <cx:pt idx="5352">94.7951368312645</cx:pt>
          <cx:pt idx="5353">94.7951368312645</cx:pt>
          <cx:pt idx="5354">94.7951368312645</cx:pt>
          <cx:pt idx="5355">93.802442501483</cx:pt>
          <cx:pt idx="5356">93.779284043034991</cx:pt>
          <cx:pt idx="5357">93.001186456252654</cx:pt>
          <cx:pt idx="5358">93.001186456252654</cx:pt>
          <cx:pt idx="5359">93.001186456252654</cx:pt>
          <cx:pt idx="5360">93.001186456252654</cx:pt>
          <cx:pt idx="5361">92.839699924482332</cx:pt>
          <cx:pt idx="5362">92.725331070365002</cx:pt>
          <cx:pt idx="5363">92.258541935942674</cx:pt>
          <cx:pt idx="5364">92.23448533809966</cx:pt>
          <cx:pt idx="5365">92.134954518516196</cx:pt>
          <cx:pt idx="5366">91.92626650054234</cx:pt>
          <cx:pt idx="5367">91.92626650054234</cx:pt>
          <cx:pt idx="5368">91.678927944374493</cx:pt>
          <cx:pt idx="5369">91.620616314689997</cx:pt>
          <cx:pt idx="5370">91.620616314689997</cx:pt>
          <cx:pt idx="5371">91.620616314689997</cx:pt>
          <cx:pt idx="5372">91.620616314689997</cx:pt>
          <cx:pt idx="5373">91.620616314689997</cx:pt>
          <cx:pt idx="5374">91.364990576034174</cx:pt>
          <cx:pt idx="5375">91.288346109371631</cx:pt>
          <cx:pt idx="5376">91.237258896319091</cx:pt>
          <cx:pt idx="5377">91.12229080539899</cx:pt>
          <cx:pt idx="5378">89.666812453096256</cx:pt>
          <cx:pt idx="5379">89.252580584860496</cx:pt>
          <cx:pt idx="5380">89.252580584860496</cx:pt>
          <cx:pt idx="5381">89.252580584860496</cx:pt>
          <cx:pt idx="5382">89.252580584860496</cx:pt>
          <cx:pt idx="5383">89.252580584860496</cx:pt>
          <cx:pt idx="5384">89.038047864218001</cx:pt>
          <cx:pt idx="5385">89.038047864218001</cx:pt>
          <cx:pt idx="5386">89.038047864218001</cx:pt>
          <cx:pt idx="5387">88.056881300431996</cx:pt>
          <cx:pt idx="5388">87.845778287329665</cx:pt>
          <cx:pt idx="5389">87.845778287329665</cx:pt>
          <cx:pt idx="5390">87.731285858286995</cx:pt>
          <cx:pt idx="5391">87.731285858286995</cx:pt>
          <cx:pt idx="5392">87.731285858286995</cx:pt>
          <cx:pt idx="5393">87.731285858286995</cx:pt>
          <cx:pt idx="5394">87.731285858286995</cx:pt>
          <cx:pt idx="5395">87.731285858286995</cx:pt>
          <cx:pt idx="5396">87.731285858286995</cx:pt>
          <cx:pt idx="5397">87.731285858286995</cx:pt>
          <cx:pt idx="5398">87.731285858286995</cx:pt>
          <cx:pt idx="5399">87.731285858286995</cx:pt>
          <cx:pt idx="5400">86.972753435223993</cx:pt>
          <cx:pt idx="5401">86.972753435223993</cx:pt>
          <cx:pt idx="5402">86.972753435223993</cx:pt>
          <cx:pt idx="5403">86.972753435223993</cx:pt>
          <cx:pt idx="5404">86.972753435223993</cx:pt>
          <cx:pt idx="5405">86.972753435223993</cx:pt>
          <cx:pt idx="5406">86.972753435223993</cx:pt>
          <cx:pt idx="5407">86.972753435223993</cx:pt>
          <cx:pt idx="5408">86.972753435223993</cx:pt>
          <cx:pt idx="5409">86.972753435223993</cx:pt>
          <cx:pt idx="5410">86.972753435223993</cx:pt>
          <cx:pt idx="5411">86.972753435223993</cx:pt>
          <cx:pt idx="5412">86.972753435223993</cx:pt>
          <cx:pt idx="5413">86.972753435223993</cx:pt>
          <cx:pt idx="5414">86.972753435223993</cx:pt>
          <cx:pt idx="5415">86.972753435223993</cx:pt>
          <cx:pt idx="5416">86.929683261937811</cx:pt>
          <cx:pt idx="5417">86.807258008243849</cx:pt>
          <cx:pt idx="5418">86.631280226916331</cx:pt>
          <cx:pt idx="5419">86.631280226916331</cx:pt>
          <cx:pt idx="5420">86.631280226916331</cx:pt>
          <cx:pt idx="5421">86.631280226916331</cx:pt>
          <cx:pt idx="5422">86.631280226916331</cx:pt>
          <cx:pt idx="5423">86.631280226916331</cx:pt>
          <cx:pt idx="5424">86.251772130803332</cx:pt>
          <cx:pt idx="5425">86.104867758725334</cx:pt>
          <cx:pt idx="5426">86.104867758725334</cx:pt>
          <cx:pt idx="5427">86.086591448034554</cx:pt>
          <cx:pt idx="5428">86.013045813243792</cx:pt>
          <cx:pt idx="5429">86.013045813243792</cx:pt>
          <cx:pt idx="5430">86.013045813243792</cx:pt>
          <cx:pt idx="5431">85.626635737957599</cx:pt>
          <cx:pt idx="5432">85.626635737957599</cx:pt>
          <cx:pt idx="5433">85.626635737957599</cx:pt>
          <cx:pt idx="5434">85.626635737957599</cx:pt>
          <cx:pt idx="5435">85.626635737957599</cx:pt>
          <cx:pt idx="5436">85.626635737957599</cx:pt>
          <cx:pt idx="5437">85.626635737957599</cx:pt>
          <cx:pt idx="5438">85.626635737957599</cx:pt>
          <cx:pt idx="5439">85.626635737957599</cx:pt>
          <cx:pt idx="5440">85.626635737957599</cx:pt>
          <cx:pt idx="5441">85.626635737957599</cx:pt>
          <cx:pt idx="5442">85.626635737957599</cx:pt>
          <cx:pt idx="5443">85.626635737957599</cx:pt>
          <cx:pt idx="5444">85.626635737957599</cx:pt>
          <cx:pt idx="5445">85.626635737957599</cx:pt>
          <cx:pt idx="5446">85.626635737957599</cx:pt>
          <cx:pt idx="5447">85.626635737957599</cx:pt>
          <cx:pt idx="5448">85.626635737957599</cx:pt>
          <cx:pt idx="5449">85.626635737957599</cx:pt>
          <cx:pt idx="5450">85.626635737957599</cx:pt>
          <cx:pt idx="5451">85.626635737957599</cx:pt>
          <cx:pt idx="5452">85.626635737957599</cx:pt>
          <cx:pt idx="5453">85.626635737957599</cx:pt>
          <cx:pt idx="5454">85.626635737957599</cx:pt>
          <cx:pt idx="5455">85.626635737957599</cx:pt>
          <cx:pt idx="5456">85.360718096357331</cx:pt>
          <cx:pt idx="5457">85.360718096357331</cx:pt>
          <cx:pt idx="5458">85.360718096357331</cx:pt>
          <cx:pt idx="5459">85.360718096357331</cx:pt>
          <cx:pt idx="5460">85.360718096357331</cx:pt>
          <cx:pt idx="5461">85.360718096357331</cx:pt>
          <cx:pt idx="5462">85.360718096357331</cx:pt>
          <cx:pt idx="5463">85.360718096357331</cx:pt>
          <cx:pt idx="5464">85.360718096357331</cx:pt>
          <cx:pt idx="5465">85.360718096357331</cx:pt>
          <cx:pt idx="5466">85.360718096357331</cx:pt>
          <cx:pt idx="5467">85.360718096357331</cx:pt>
          <cx:pt idx="5468">85.282625636520805</cx:pt>
          <cx:pt idx="5469">84.711609633077003</cx:pt>
          <cx:pt idx="5470">84.358382373409668</cx:pt>
          <cx:pt idx="5471">84.358382373409668</cx:pt>
          <cx:pt idx="5472">84.358382373409668</cx:pt>
          <cx:pt idx="5473">83.965552582675301</cx:pt>
          <cx:pt idx="5474">83.965552582675301</cx:pt>
          <cx:pt idx="5475">83.965552582675301</cx:pt>
          <cx:pt idx="5476">83.965552582675301</cx:pt>
          <cx:pt idx="5477">83.965552582675301</cx:pt>
          <cx:pt idx="5478">83.965552582675301</cx:pt>
          <cx:pt idx="5479">83.965552582675301</cx:pt>
          <cx:pt idx="5480">83.965552582675301</cx:pt>
          <cx:pt idx="5481">83.965552582675301</cx:pt>
          <cx:pt idx="5482">83.613916849673004</cx:pt>
          <cx:pt idx="5483">83.613916849673004</cx:pt>
          <cx:pt idx="5484">83.613916849673004</cx:pt>
          <cx:pt idx="5485">83.613916849673004</cx:pt>
          <cx:pt idx="5486">83.613916849673004</cx:pt>
          <cx:pt idx="5487">83.613916849673004</cx:pt>
          <cx:pt idx="5488">83.613916849673004</cx:pt>
          <cx:pt idx="5489">83.613916849673004</cx:pt>
          <cx:pt idx="5490">83.613916849673004</cx:pt>
          <cx:pt idx="5491">83.613916849673004</cx:pt>
          <cx:pt idx="5492">83.613916849673004</cx:pt>
          <cx:pt idx="5493">83.613916849673004</cx:pt>
          <cx:pt idx="5494">83.613916849673004</cx:pt>
          <cx:pt idx="5495">83.613916849673004</cx:pt>
          <cx:pt idx="5496">83.613916849673004</cx:pt>
          <cx:pt idx="5497">83.613916849673004</cx:pt>
          <cx:pt idx="5498">83.613916849673004</cx:pt>
          <cx:pt idx="5499">83.613916849673004</cx:pt>
          <cx:pt idx="5500">83.613916849673004</cx:pt>
          <cx:pt idx="5501">83.613916849673004</cx:pt>
          <cx:pt idx="5502">83.613916849673004</cx:pt>
          <cx:pt idx="5503">83.254649212113506</cx:pt>
          <cx:pt idx="5504">83.08221481082775</cx:pt>
          <cx:pt idx="5505">83.08221481082775</cx:pt>
          <cx:pt idx="5506">83.08221481082775</cx:pt>
          <cx:pt idx="5507">83.08221481082775</cx:pt>
          <cx:pt idx="5508">82.876697917484293</cx:pt>
          <cx:pt idx="5509">81.767220212848002</cx:pt>
          <cx:pt idx="5510">81.767220212848002</cx:pt>
          <cx:pt idx="5511">81.767220212848002</cx:pt>
          <cx:pt idx="5512">81.767220212848002</cx:pt>
          <cx:pt idx="5513">81.623820988322379</cx:pt>
          <cx:pt idx="5514">81.566770091641004</cx:pt>
          <cx:pt idx="5515">81.530263741375592</cx:pt>
          <cx:pt idx="5516">81.152132190031494</cx:pt>
          <cx:pt idx="5517">81.152132190031494</cx:pt>
          <cx:pt idx="5518">81.152132190031494</cx:pt>
          <cx:pt idx="5519">81.152132190031494</cx:pt>
          <cx:pt idx="5520">81.152132190031494</cx:pt>
          <cx:pt idx="5521">81.152132190031494</cx:pt>
          <cx:pt idx="5522">81.152132190031494</cx:pt>
          <cx:pt idx="5523">81.152132190031494</cx:pt>
          <cx:pt idx="5524">81.152132190031494</cx:pt>
          <cx:pt idx="5525">80.946018265604991</cx:pt>
          <cx:pt idx="5526">80.946018265604991</cx:pt>
          <cx:pt idx="5527">80.946018265604991</cx:pt>
          <cx:pt idx="5528">80.946018265604991</cx:pt>
          <cx:pt idx="5529">80.946018265604991</cx:pt>
          <cx:pt idx="5530">80.946018265604991</cx:pt>
          <cx:pt idx="5531">80.946018265604991</cx:pt>
          <cx:pt idx="5532">80.946018265604991</cx:pt>
          <cx:pt idx="5533">80.946018265604991</cx:pt>
          <cx:pt idx="5534">80.946018265604991</cx:pt>
          <cx:pt idx="5535">80.946018265604991</cx:pt>
          <cx:pt idx="5536">80.946018265604991</cx:pt>
          <cx:pt idx="5537">80.946018265604991</cx:pt>
          <cx:pt idx="5538">80.946018265604991</cx:pt>
          <cx:pt idx="5539">80.946018265604991</cx:pt>
          <cx:pt idx="5540">80.946018265604991</cx:pt>
          <cx:pt idx="5541">80.946018265604991</cx:pt>
          <cx:pt idx="5542">80.946018265604991</cx:pt>
          <cx:pt idx="5543">80.946018265604991</cx:pt>
          <cx:pt idx="5544">80.946018265604991</cx:pt>
          <cx:pt idx="5545">80.946018265604991</cx:pt>
          <cx:pt idx="5546">80.946018265604991</cx:pt>
          <cx:pt idx="5547">80.946018265604991</cx:pt>
          <cx:pt idx="5548">80.946018265604991</cx:pt>
          <cx:pt idx="5549">80.946018265604991</cx:pt>
          <cx:pt idx="5550">80.946018265604991</cx:pt>
          <cx:pt idx="5551">80.946018265604991</cx:pt>
          <cx:pt idx="5552">80.707970714564254</cx:pt>
          <cx:pt idx="5553">80.707970714564254</cx:pt>
          <cx:pt idx="5554">80.707970714564254</cx:pt>
          <cx:pt idx="5555">80.707970714564254</cx:pt>
          <cx:pt idx="5556">80.521788730474228</cx:pt>
          <cx:pt idx="5557">80.488761223980163</cx:pt>
          <cx:pt idx="5558">80.141310341068007</cx:pt>
          <cx:pt idx="5559">80.141310341068007</cx:pt>
          <cx:pt idx="5560">79.593151777585007</cx:pt>
          <cx:pt idx="5561">79.593151777585007</cx:pt>
          <cx:pt idx="5562">79.593151777585007</cx:pt>
          <cx:pt idx="5563">79.593151777585007</cx:pt>
          <cx:pt idx="5564">79.593151777585007</cx:pt>
          <cx:pt idx="5565">79.593151777585007</cx:pt>
          <cx:pt idx="5566">79.593151777585007</cx:pt>
          <cx:pt idx="5567">79.593151777585007</cx:pt>
          <cx:pt idx="5568">79.177720756141753</cx:pt>
          <cx:pt idx="5569">78.812371349385245</cx:pt>
          <cx:pt idx="5570">78.812371349385245</cx:pt>
          <cx:pt idx="5571">78.699126558195502</cx:pt>
          <cx:pt idx="5572">78.699126558195502</cx:pt>
          <cx:pt idx="5573">78.699126558195502</cx:pt>
          <cx:pt idx="5574">78.699126558195502</cx:pt>
          <cx:pt idx="5575">78.699126558195502</cx:pt>
          <cx:pt idx="5576">78.699126558195502</cx:pt>
          <cx:pt idx="5577">78.157843051668337</cx:pt>
          <cx:pt idx="5578">78.106086808133327</cx:pt>
          <cx:pt idx="5579">77.661700830584593</cx:pt>
          <cx:pt idx="5580">77.661700830584593</cx:pt>
          <cx:pt idx="5581">77.661700830584593</cx:pt>
          <cx:pt idx="5582">77.661700830584593</cx:pt>
          <cx:pt idx="5583">77.57341090567671</cx:pt>
          <cx:pt idx="5584">77.356815112831598</cx:pt>
          <cx:pt idx="5585">77.356815112831598</cx:pt>
          <cx:pt idx="5586">76.67216976325129</cx:pt>
          <cx:pt idx="5587">76.67216976325129</cx:pt>
          <cx:pt idx="5588">75.278848165541248</cx:pt>
          <cx:pt idx="5589">75.278848165541248</cx:pt>
          <cx:pt idx="5590">75.278848165541248</cx:pt>
          <cx:pt idx="5591">75.278848165541248</cx:pt>
          <cx:pt idx="5592">75.278848165541248</cx:pt>
          <cx:pt idx="5593">75.278848165541248</cx:pt>
          <cx:pt idx="5594">75.278848165541248</cx:pt>
          <cx:pt idx="5595">75.278848165541248</cx:pt>
          <cx:pt idx="5596">75.198324503375503</cx:pt>
          <cx:pt idx="5597">74.282629134567998</cx:pt>
          <cx:pt idx="5598">74.282629134567998</cx:pt>
          <cx:pt idx="5599">74.282629134567998</cx:pt>
          <cx:pt idx="5600">74.282629134567998</cx:pt>
          <cx:pt idx="5601">74.282629134567998</cx:pt>
          <cx:pt idx="5602">74.282629134567998</cx:pt>
          <cx:pt idx="5603">74.282629134567998</cx:pt>
          <cx:pt idx="5604">74.282629134567998</cx:pt>
          <cx:pt idx="5605">74.282629134567998</cx:pt>
          <cx:pt idx="5606">74.282629134567998</cx:pt>
          <cx:pt idx="5607">74.282629134567998</cx:pt>
          <cx:pt idx="5608">74.282629134567998</cx:pt>
          <cx:pt idx="5609">74.282629134567998</cx:pt>
          <cx:pt idx="5610">74.282629134567998</cx:pt>
          <cx:pt idx="5611">74.282629134567998</cx:pt>
          <cx:pt idx="5612">74.282629134567998</cx:pt>
          <cx:pt idx="5613">74.282629134567998</cx:pt>
          <cx:pt idx="5614">74.282629134567998</cx:pt>
          <cx:pt idx="5615">74.282629134567998</cx:pt>
          <cx:pt idx="5616">74.282629134567998</cx:pt>
          <cx:pt idx="5617">73.923133333300754</cx:pt>
          <cx:pt idx="5618">72.775486224579495</cx:pt>
          <cx:pt idx="5619">72.775486224579495</cx:pt>
          <cx:pt idx="5620">72.775486224579495</cx:pt>
          <cx:pt idx="5621">72.775486224579495</cx:pt>
          <cx:pt idx="5622">72.775486224579495</cx:pt>
          <cx:pt idx="5623">72.775486224579495</cx:pt>
          <cx:pt idx="5624">72.775486224579495</cx:pt>
          <cx:pt idx="5625">72.775486224579495</cx:pt>
          <cx:pt idx="5626">72.775486224579495</cx:pt>
          <cx:pt idx="5627">72.775486224579495</cx:pt>
          <cx:pt idx="5628">72.775486224579495</cx:pt>
          <cx:pt idx="5629">72.775486224579495</cx:pt>
          <cx:pt idx="5630">72.486011644176003</cx:pt>
          <cx:pt idx="5631">72.292298069396992</cx:pt>
          <cx:pt idx="5632">71.7723586332135</cx:pt>
          <cx:pt idx="5633">71.330533420256998</cx:pt>
          <cx:pt idx="5634">71.330533420256998</cx:pt>
          <cx:pt idx="5635">71.330533420256998</cx:pt>
          <cx:pt idx="5636">71.330533420256998</cx:pt>
          <cx:pt idx="5637">70.545804903323997</cx:pt>
          <cx:pt idx="5638">70.545804903323997</cx:pt>
          <cx:pt idx="5639">70.545804903323997</cx:pt>
          <cx:pt idx="5640">70.545804903323997</cx:pt>
          <cx:pt idx="5641">70.545804903323997</cx:pt>
          <cx:pt idx="5642">70.545804903323997</cx:pt>
          <cx:pt idx="5643">70.039640296863993</cx:pt>
          <cx:pt idx="5644">70.039640296863993</cx:pt>
          <cx:pt idx="5645">69.6132729855902</cx:pt>
          <cx:pt idx="5646">69.6132729855902</cx:pt>
          <cx:pt idx="5647">69.6132729855902</cx:pt>
          <cx:pt idx="5648">69.6132729855902</cx:pt>
          <cx:pt idx="5649">69.6132729855902</cx:pt>
          <cx:pt idx="5650">69.6132729855902</cx:pt>
          <cx:pt idx="5651">69.6132729855902</cx:pt>
          <cx:pt idx="5652">69.6132729855902</cx:pt>
          <cx:pt idx="5653">69.6132729855902</cx:pt>
          <cx:pt idx="5654">69.6132729855902</cx:pt>
          <cx:pt idx="5655">69.6132729855902</cx:pt>
          <cx:pt idx="5656">69.6132729855902</cx:pt>
          <cx:pt idx="5657">69.6132729855902</cx:pt>
          <cx:pt idx="5658">69.6132729855902</cx:pt>
          <cx:pt idx="5659">69.6132729855902</cx:pt>
          <cx:pt idx="5660">69.6132729855902</cx:pt>
          <cx:pt idx="5661">69.6132729855902</cx:pt>
          <cx:pt idx="5662">69.6132729855902</cx:pt>
          <cx:pt idx="5663">69.6132729855902</cx:pt>
          <cx:pt idx="5664">69.6132729855902</cx:pt>
          <cx:pt idx="5665">69.6132729855902</cx:pt>
          <cx:pt idx="5666">69.6132729855902</cx:pt>
          <cx:pt idx="5667">69.6132729855902</cx:pt>
          <cx:pt idx="5668">69.6132729855902</cx:pt>
          <cx:pt idx="5669">69.6132729855902</cx:pt>
          <cx:pt idx="5670">69.6132729855902</cx:pt>
          <cx:pt idx="5671">69.6132729855902</cx:pt>
          <cx:pt idx="5672">69.6132729855902</cx:pt>
          <cx:pt idx="5673">69.6132729855902</cx:pt>
          <cx:pt idx="5674">69.6132729855902</cx:pt>
          <cx:pt idx="5675">69.6132729855902</cx:pt>
          <cx:pt idx="5676">69.6132729855902</cx:pt>
          <cx:pt idx="5677">69.6132729855902</cx:pt>
          <cx:pt idx="5678">69.6132729855902</cx:pt>
          <cx:pt idx="5679">69.6132729855902</cx:pt>
          <cx:pt idx="5680">69.6132729855902</cx:pt>
          <cx:pt idx="5681">69.6132729855902</cx:pt>
          <cx:pt idx="5682">69.6132729855902</cx:pt>
          <cx:pt idx="5683">69.6132729855902</cx:pt>
          <cx:pt idx="5684">69.6132729855902</cx:pt>
          <cx:pt idx="5685">69.6132729855902</cx:pt>
          <cx:pt idx="5686">69.6132729855902</cx:pt>
          <cx:pt idx="5687">69.6132729855902</cx:pt>
          <cx:pt idx="5688">69.6132729855902</cx:pt>
          <cx:pt idx="5689">69.6132729855902</cx:pt>
          <cx:pt idx="5690">69.6132729855902</cx:pt>
          <cx:pt idx="5691">69.6132729855902</cx:pt>
          <cx:pt idx="5692">69.6132729855902</cx:pt>
          <cx:pt idx="5693">69.6132729855902</cx:pt>
          <cx:pt idx="5694">69.6132729855902</cx:pt>
          <cx:pt idx="5695">69.6132729855902</cx:pt>
          <cx:pt idx="5696">69.6132729855902</cx:pt>
          <cx:pt idx="5697">69.6132729855902</cx:pt>
          <cx:pt idx="5698">69.6132729855902</cx:pt>
          <cx:pt idx="5699">69.6132729855902</cx:pt>
          <cx:pt idx="5700">69.6132729855902</cx:pt>
          <cx:pt idx="5701">69.6132729855902</cx:pt>
          <cx:pt idx="5702">69.6132729855902</cx:pt>
          <cx:pt idx="5703">69.6132729855902</cx:pt>
          <cx:pt idx="5704">69.6132729855902</cx:pt>
          <cx:pt idx="5705">69.6132729855902</cx:pt>
          <cx:pt idx="5706">69.6132729855902</cx:pt>
          <cx:pt idx="5707">69.6132729855902</cx:pt>
          <cx:pt idx="5708">69.6132729855902</cx:pt>
          <cx:pt idx="5709">69.6132729855902</cx:pt>
          <cx:pt idx="5710">69.6132729855902</cx:pt>
          <cx:pt idx="5711">69.6132729855902</cx:pt>
          <cx:pt idx="5712">69.095941148617499</cx:pt>
          <cx:pt idx="5713">69.095941148617499</cx:pt>
          <cx:pt idx="5714">69.095941148617499</cx:pt>
          <cx:pt idx="5715">69.095941148617499</cx:pt>
          <cx:pt idx="5716">69.095941148617499</cx:pt>
          <cx:pt idx="5717">69.095941148617499</cx:pt>
          <cx:pt idx="5718">69.084932752973756</cx:pt>
          <cx:pt idx="5719">67.768347374579406</cx:pt>
          <cx:pt idx="5720">67.768347374579406</cx:pt>
          <cx:pt idx="5721">67.768347374579406</cx:pt>
          <cx:pt idx="5722">67.768347374579406</cx:pt>
          <cx:pt idx="5723">67.768347374579406</cx:pt>
          <cx:pt idx="5724">67.768347374579406</cx:pt>
          <cx:pt idx="5725">67.768347374579406</cx:pt>
          <cx:pt idx="5726">67.768347374579406</cx:pt>
          <cx:pt idx="5727">67.768347374579406</cx:pt>
          <cx:pt idx="5728">67.768347374579406</cx:pt>
          <cx:pt idx="5729">67.768347374579406</cx:pt>
          <cx:pt idx="5730">67.768347374579406</cx:pt>
          <cx:pt idx="5731">67.768347374579406</cx:pt>
          <cx:pt idx="5732">67.768347374579406</cx:pt>
          <cx:pt idx="5733">67.768347374579406</cx:pt>
          <cx:pt idx="5734">67.768347374579406</cx:pt>
          <cx:pt idx="5735">67.768347374579406</cx:pt>
          <cx:pt idx="5736">67.768347374579406</cx:pt>
          <cx:pt idx="5737">67.768347374579406</cx:pt>
          <cx:pt idx="5738">67.768347374579406</cx:pt>
          <cx:pt idx="5739">67.768347374579406</cx:pt>
          <cx:pt idx="5740">67.768347374579406</cx:pt>
          <cx:pt idx="5741">67.768347374579406</cx:pt>
          <cx:pt idx="5742">67.768347374579406</cx:pt>
          <cx:pt idx="5743">66.95707419165366</cx:pt>
          <cx:pt idx="5744">66.631265298794503</cx:pt>
          <cx:pt idx="5745">66.631265298794503</cx:pt>
          <cx:pt idx="5746">66.631265298794503</cx:pt>
          <cx:pt idx="5747">66.631265298794503</cx:pt>
          <cx:pt idx="5748">66.298065869817506</cx:pt>
          <cx:pt idx="5749">66.298065869817506</cx:pt>
          <cx:pt idx="5750">66.298065869817506</cx:pt>
          <cx:pt idx="5751">66.298065869817506</cx:pt>
          <cx:pt idx="5752">66.298065869817506</cx:pt>
          <cx:pt idx="5753">66.298065869817506</cx:pt>
          <cx:pt idx="5754">66.298065869817506</cx:pt>
          <cx:pt idx="5755">66.298065869817506</cx:pt>
          <cx:pt idx="5756">66.298065869817506</cx:pt>
          <cx:pt idx="5757">66.298065869817506</cx:pt>
          <cx:pt idx="5758">66.298065869817506</cx:pt>
          <cx:pt idx="5759">66.298065869817506</cx:pt>
          <cx:pt idx="5760">66.298065869817506</cx:pt>
          <cx:pt idx="5761">66.298065869817506</cx:pt>
          <cx:pt idx="5762">66.298065869817506</cx:pt>
          <cx:pt idx="5763">66.298065869817506</cx:pt>
          <cx:pt idx="5764">65.980351041420249</cx:pt>
          <cx:pt idx="5765">65.925737101110997</cx:pt>
          <cx:pt idx="5766">65.925737101110997</cx:pt>
          <cx:pt idx="5767">65.925737101110997</cx:pt>
          <cx:pt idx="5768">65.821019802287196</cx:pt>
          <cx:pt idx="5769">65.821019802287196</cx:pt>
          <cx:pt idx="5770">65.821019802287196</cx:pt>
          <cx:pt idx="5771">65.821019802287196</cx:pt>
          <cx:pt idx="5772">65.821019802287196</cx:pt>
          <cx:pt idx="5773">65.734010320975244</cx:pt>
          <cx:pt idx="5774">65.734010320975244</cx:pt>
          <cx:pt idx="5775">65.734010320975244</cx:pt>
          <cx:pt idx="5776">65.734010320975244</cx:pt>
          <cx:pt idx="5777">65.734010320975244</cx:pt>
          <cx:pt idx="5778">65.734010320975244</cx:pt>
          <cx:pt idx="5779">65.734010320975244</cx:pt>
          <cx:pt idx="5780">65.734010320975244</cx:pt>
          <cx:pt idx="5781">65.734010320975244</cx:pt>
          <cx:pt idx="5782">65.734010320975244</cx:pt>
          <cx:pt idx="5783">65.734010320975244</cx:pt>
          <cx:pt idx="5784">65.734010320975244</cx:pt>
          <cx:pt idx="5785">65.734010320975244</cx:pt>
          <cx:pt idx="5786">65.734010320975244</cx:pt>
          <cx:pt idx="5787">65.734010320975244</cx:pt>
          <cx:pt idx="5788">65.734010320975244</cx:pt>
          <cx:pt idx="5789">64.386182837777724</cx:pt>
          <cx:pt idx="5790">60.972263677708334</cx:pt>
          <cx:pt idx="5791">60.787812392139898</cx:pt>
          <cx:pt idx="5792">60.787812392139898</cx:pt>
          <cx:pt idx="5793">60.787812392139898</cx:pt>
          <cx:pt idx="5794">60.787812392139898</cx:pt>
          <cx:pt idx="5795">60.787812392139898</cx:pt>
          <cx:pt idx="5796">60.787812392139898</cx:pt>
          <cx:pt idx="5797">60.787812392139898</cx:pt>
          <cx:pt idx="5798">60.787812392139898</cx:pt>
          <cx:pt idx="5799">60.787812392139898</cx:pt>
          <cx:pt idx="5800">60.787812392139898</cx:pt>
          <cx:pt idx="5801">60.787812392139898</cx:pt>
          <cx:pt idx="5802">60.787812392139898</cx:pt>
          <cx:pt idx="5803">60.787812392139898</cx:pt>
          <cx:pt idx="5804">60.787812392139898</cx:pt>
          <cx:pt idx="5805">60.787812392139898</cx:pt>
          <cx:pt idx="5806">60.787812392139898</cx:pt>
          <cx:pt idx="5807">60.787812392139898</cx:pt>
          <cx:pt idx="5808">60.787812392139898</cx:pt>
          <cx:pt idx="5809">60.787812392139898</cx:pt>
          <cx:pt idx="5810">60.787812392139898</cx:pt>
          <cx:pt idx="5811">60.787812392139898</cx:pt>
          <cx:pt idx="5812">60.787812392139898</cx:pt>
          <cx:pt idx="5813">60.787812392139898</cx:pt>
          <cx:pt idx="5814">60.787812392139898</cx:pt>
          <cx:pt idx="5815">60.787812392139898</cx:pt>
          <cx:pt idx="5816">60.587017168323499</cx:pt>
          <cx:pt idx="5817">60.587017168323499</cx:pt>
          <cx:pt idx="5818">60.587017168323499</cx:pt>
          <cx:pt idx="5819">60.587017168323499</cx:pt>
          <cx:pt idx="5820">60.587017168323499</cx:pt>
          <cx:pt idx="5821">60.587017168323499</cx:pt>
          <cx:pt idx="5822">60.587017168323499</cx:pt>
          <cx:pt idx="5823">60.587017168323499</cx:pt>
          <cx:pt idx="5824">60.587017168323499</cx:pt>
          <cx:pt idx="5825">60.587017168323499</cx:pt>
          <cx:pt idx="5826">57.82212578132372</cx:pt>
          <cx:pt idx="5827">57.558004100560403</cx:pt>
          <cx:pt idx="5828">57.558004100560403</cx:pt>
          <cx:pt idx="5829">57.558004100560403</cx:pt>
          <cx:pt idx="5830">57.465138033145998</cx:pt>
          <cx:pt idx="5831">57.155411848640831</cx:pt>
          <cx:pt idx="5832">55.916626233179329</cx:pt>
          <cx:pt idx="5833">55.916626233179329</cx:pt>
          <cx:pt idx="5834">55.863145531324996</cx:pt>
          <cx:pt idx="5835">55.863145531324996</cx:pt>
          <cx:pt idx="5836">55.863145531324996</cx:pt>
          <cx:pt idx="5837">55.097789037893996</cx:pt>
          <cx:pt idx="5838">55.097789037893996</cx:pt>
          <cx:pt idx="5839">53.991288430227712</cx:pt>
          <cx:pt idx="5840">53.568316750012663</cx:pt>
          <cx:pt idx="5841">53.101083350093198</cx:pt>
          <cx:pt idx="5842">53.101083350093198</cx:pt>
          <cx:pt idx="5843">53.101083350093198</cx:pt>
          <cx:pt idx="5844">53.101083350093198</cx:pt>
          <cx:pt idx="5845">53.101083350093198</cx:pt>
          <cx:pt idx="5846">53.101083350093198</cx:pt>
          <cx:pt idx="5847">53.101083350093198</cx:pt>
          <cx:pt idx="5848">53.101083350093198</cx:pt>
          <cx:pt idx="5849">53.101083350093198</cx:pt>
          <cx:pt idx="5850">53.101083350093198</cx:pt>
          <cx:pt idx="5851">53.101083350093198</cx:pt>
          <cx:pt idx="5852">53.101083350093198</cx:pt>
          <cx:pt idx="5853">53.101083350093198</cx:pt>
          <cx:pt idx="5854">53.101083350093198</cx:pt>
          <cx:pt idx="5855">53.101083350093198</cx:pt>
          <cx:pt idx="5856">53.101083350093198</cx:pt>
          <cx:pt idx="5857">53.101083350093198</cx:pt>
          <cx:pt idx="5858">53.101083350093198</cx:pt>
          <cx:pt idx="5859">53.101083350093198</cx:pt>
          <cx:pt idx="5860">53.101083350093198</cx:pt>
          <cx:pt idx="5861">53.101083350093198</cx:pt>
          <cx:pt idx="5862">53.101083350093198</cx:pt>
          <cx:pt idx="5863">52.830922902240999</cx:pt>
          <cx:pt idx="5864">52.830922902240999</cx:pt>
          <cx:pt idx="5865">52.830922902240999</cx:pt>
          <cx:pt idx="5866">52.830922902240999</cx:pt>
          <cx:pt idx="5867">52.830922902240999</cx:pt>
          <cx:pt idx="5868">52.830922902240999</cx:pt>
          <cx:pt idx="5869">52.830922902240999</cx:pt>
          <cx:pt idx="5870">52.830922902240999</cx:pt>
          <cx:pt idx="5871">52.830922902240999</cx:pt>
          <cx:pt idx="5872">52.830922902240999</cx:pt>
          <cx:pt idx="5873">52.830922902240999</cx:pt>
          <cx:pt idx="5874">52.830922902240999</cx:pt>
          <cx:pt idx="5875">52.830922902240999</cx:pt>
          <cx:pt idx="5876">52.830922902240999</cx:pt>
          <cx:pt idx="5877">52.830922902240999</cx:pt>
          <cx:pt idx="5878">52.830922902240999</cx:pt>
          <cx:pt idx="5879">52.830922902240999</cx:pt>
          <cx:pt idx="5880">52.830922902240999</cx:pt>
          <cx:pt idx="5881">52.547588121781999</cx:pt>
          <cx:pt idx="5882">52.547588121781999</cx:pt>
          <cx:pt idx="5883">52.547588121781999</cx:pt>
          <cx:pt idx="5884">51.540893506334669</cx:pt>
          <cx:pt idx="5885">51.540893506334669</cx:pt>
          <cx:pt idx="5886">51.540893506334669</cx:pt>
          <cx:pt idx="5887">51.540893506334669</cx:pt>
          <cx:pt idx="5888">51.540893506334669</cx:pt>
          <cx:pt idx="5889">51.540893506334669</cx:pt>
          <cx:pt idx="5890">51.540893506334669</cx:pt>
          <cx:pt idx="5891">51.540893506334669</cx:pt>
          <cx:pt idx="5892">51.540893506334669</cx:pt>
          <cx:pt idx="5893">51.540893506334669</cx:pt>
          <cx:pt idx="5894">51.540893506334669</cx:pt>
          <cx:pt idx="5895">51.540893506334669</cx:pt>
          <cx:pt idx="5896">51.540893506334669</cx:pt>
          <cx:pt idx="5897">51.540893506334669</cx:pt>
          <cx:pt idx="5898">51.540893506334669</cx:pt>
          <cx:pt idx="5899">51.352003652695338</cx:pt>
          <cx:pt idx="5900">50.965914015011002</cx:pt>
          <cx:pt idx="5901">50.965914015011002</cx:pt>
          <cx:pt idx="5902">50.965914015011002</cx:pt>
          <cx:pt idx="5903">50.965914015011002</cx:pt>
          <cx:pt idx="5904">50.965914015011002</cx:pt>
          <cx:pt idx="5905">50.965914015011002</cx:pt>
          <cx:pt idx="5906">50.965914015011002</cx:pt>
          <cx:pt idx="5907">50.965914015011002</cx:pt>
          <cx:pt idx="5908">50.965914015011002</cx:pt>
          <cx:pt idx="5909">50.965914015011002</cx:pt>
          <cx:pt idx="5910">50.526078506105996</cx:pt>
          <cx:pt idx="5911">50.385924446221331</cx:pt>
          <cx:pt idx="5912">50.385924446221331</cx:pt>
          <cx:pt idx="5913">50.385924446221331</cx:pt>
          <cx:pt idx="5914">50.385924446221331</cx:pt>
          <cx:pt idx="5915">50.385924446221331</cx:pt>
          <cx:pt idx="5916">50.385924446221331</cx:pt>
          <cx:pt idx="5917">50.385924446221331</cx:pt>
          <cx:pt idx="5918">50.385924446221331</cx:pt>
          <cx:pt idx="5919">50.385924446221331</cx:pt>
          <cx:pt idx="5920">50.385924446221331</cx:pt>
          <cx:pt idx="5921">50.385924446221331</cx:pt>
          <cx:pt idx="5922">50.385924446221331</cx:pt>
          <cx:pt idx="5923">50.385924446221331</cx:pt>
          <cx:pt idx="5924">50.385924446221331</cx:pt>
          <cx:pt idx="5925">48.969857866745151</cx:pt>
          <cx:pt idx="5926">48.969857866745151</cx:pt>
          <cx:pt idx="5927">48.969857866745151</cx:pt>
          <cx:pt idx="5928">48.969857866745151</cx:pt>
          <cx:pt idx="5929">48.969857866745151</cx:pt>
          <cx:pt idx="5930">48.969857866745151</cx:pt>
          <cx:pt idx="5931">48.969857866745151</cx:pt>
          <cx:pt idx="5932">48.969857866745151</cx:pt>
          <cx:pt idx="5933">48.969857866745151</cx:pt>
          <cx:pt idx="5934">48.969857866745151</cx:pt>
          <cx:pt idx="5935">48.969857866745151</cx:pt>
          <cx:pt idx="5936">48.969857866745151</cx:pt>
          <cx:pt idx="5937">48.969857866745151</cx:pt>
          <cx:pt idx="5938">48.969857866745151</cx:pt>
          <cx:pt idx="5939">48.969857866745151</cx:pt>
          <cx:pt idx="5940">47.474994119763331</cx:pt>
          <cx:pt idx="5941">46.676001719523001</cx:pt>
          <cx:pt idx="5942">46.55055378295534</cx:pt>
          <cx:pt idx="5943">46.55055378295534</cx:pt>
          <cx:pt idx="5944">46.55055378295534</cx:pt>
          <cx:pt idx="5945">46.55055378295534</cx:pt>
          <cx:pt idx="5946">46.55055378295534</cx:pt>
          <cx:pt idx="5947">46.531635169420397</cx:pt>
          <cx:pt idx="5948">46.531635169420397</cx:pt>
          <cx:pt idx="5949">46.531635169420397</cx:pt>
          <cx:pt idx="5950">46.531635169420397</cx:pt>
          <cx:pt idx="5951">46.531635169420397</cx:pt>
          <cx:pt idx="5952">46.531635169420397</cx:pt>
          <cx:pt idx="5953">46.531635169420397</cx:pt>
          <cx:pt idx="5954">46.531635169420397</cx:pt>
          <cx:pt idx="5955">46.531635169420397</cx:pt>
          <cx:pt idx="5956">46.531635169420397</cx:pt>
          <cx:pt idx="5957">46.531635169420397</cx:pt>
          <cx:pt idx="5958">46.531635169420397</cx:pt>
          <cx:pt idx="5959">46.531635169420397</cx:pt>
          <cx:pt idx="5960">46.531635169420397</cx:pt>
          <cx:pt idx="5961">46.531635169420397</cx:pt>
          <cx:pt idx="5962">46.531635169420397</cx:pt>
          <cx:pt idx="5963">46.531635169420397</cx:pt>
          <cx:pt idx="5964">46.531635169420397</cx:pt>
          <cx:pt idx="5965">46.531635169420397</cx:pt>
          <cx:pt idx="5966">46.531635169420397</cx:pt>
          <cx:pt idx="5967">46.531635169420397</cx:pt>
          <cx:pt idx="5968">46.531635169420397</cx:pt>
          <cx:pt idx="5969">46.531635169420397</cx:pt>
          <cx:pt idx="5970">46.531635169420397</cx:pt>
          <cx:pt idx="5971">46.531635169420397</cx:pt>
          <cx:pt idx="5972">46.531635169420397</cx:pt>
          <cx:pt idx="5973">46.531635169420397</cx:pt>
          <cx:pt idx="5974">46.531635169420397</cx:pt>
          <cx:pt idx="5975">46.427928029261849</cx:pt>
          <cx:pt idx="5976">46.427928029261849</cx:pt>
          <cx:pt idx="5977">46.427928029261849</cx:pt>
          <cx:pt idx="5978">46.427928029261849</cx:pt>
          <cx:pt idx="5979">46.427928029261849</cx:pt>
          <cx:pt idx="5980">46.427928029261849</cx:pt>
          <cx:pt idx="5981">46.427928029261849</cx:pt>
          <cx:pt idx="5982">46.427928029261849</cx:pt>
          <cx:pt idx="5983">46.427928029261849</cx:pt>
          <cx:pt idx="5984">46.427928029261849</cx:pt>
          <cx:pt idx="5985">46.427928029261849</cx:pt>
          <cx:pt idx="5986">46.427928029261849</cx:pt>
          <cx:pt idx="5987">46.427928029261849</cx:pt>
          <cx:pt idx="5988">46.427928029261849</cx:pt>
          <cx:pt idx="5989">46.427928029261849</cx:pt>
          <cx:pt idx="5990">46.427928029261849</cx:pt>
          <cx:pt idx="5991">46.427928029261849</cx:pt>
          <cx:pt idx="5992">46.427928029261849</cx:pt>
          <cx:pt idx="5993">46.176032258228751</cx:pt>
          <cx:pt idx="5994">45.532827771745502</cx:pt>
          <cx:pt idx="5995">44.43340180796875</cx:pt>
          <cx:pt idx="5996">43.8950213440014</cx:pt>
          <cx:pt idx="5997">43.8950213440014</cx:pt>
          <cx:pt idx="5998">43.8950213440014</cx:pt>
          <cx:pt idx="5999">43.8950213440014</cx:pt>
          <cx:pt idx="6000">43.8950213440014</cx:pt>
          <cx:pt idx="6001">43.8950213440014</cx:pt>
          <cx:pt idx="6002">43.8950213440014</cx:pt>
          <cx:pt idx="6003">43.8950213440014</cx:pt>
          <cx:pt idx="6004">43.8950213440014</cx:pt>
          <cx:pt idx="6005">43.8950213440014</cx:pt>
          <cx:pt idx="6006">43.8950213440014</cx:pt>
          <cx:pt idx="6007">43.8950213440014</cx:pt>
          <cx:pt idx="6008">43.8950213440014</cx:pt>
          <cx:pt idx="6009">43.8950213440014</cx:pt>
          <cx:pt idx="6010">43.8950213440014</cx:pt>
          <cx:pt idx="6011">43.8950213440014</cx:pt>
          <cx:pt idx="6012">43.8950213440014</cx:pt>
          <cx:pt idx="6013">43.8950213440014</cx:pt>
          <cx:pt idx="6014">43.8950213440014</cx:pt>
          <cx:pt idx="6015">43.8950213440014</cx:pt>
          <cx:pt idx="6016">43.8950213440014</cx:pt>
          <cx:pt idx="6017">43.887516461545502</cx:pt>
          <cx:pt idx="6018">43.887516461545502</cx:pt>
          <cx:pt idx="6019">43.887516461545502</cx:pt>
          <cx:pt idx="6020">43.887516461545502</cx:pt>
          <cx:pt idx="6021">43.887516461545502</cx:pt>
          <cx:pt idx="6022">43.092804722745797</cx:pt>
          <cx:pt idx="6023">43.092804722745797</cx:pt>
          <cx:pt idx="6024">43.092804722745797</cx:pt>
          <cx:pt idx="6025">43.092804722745797</cx:pt>
          <cx:pt idx="6026">43.092804722745797</cx:pt>
          <cx:pt idx="6027">43.092804722745797</cx:pt>
          <cx:pt idx="6028">43.092804722745797</cx:pt>
          <cx:pt idx="6029">43.092804722745797</cx:pt>
          <cx:pt idx="6030">43.092804722745797</cx:pt>
          <cx:pt idx="6031">43.092804722745797</cx:pt>
          <cx:pt idx="6032">43.092804722745797</cx:pt>
          <cx:pt idx="6033">43.092804722745797</cx:pt>
          <cx:pt idx="6034">43.092804722745797</cx:pt>
          <cx:pt idx="6035">43.092804722745797</cx:pt>
          <cx:pt idx="6036">43.092804722745797</cx:pt>
          <cx:pt idx="6037">43.092804722745797</cx:pt>
          <cx:pt idx="6038">43.092804722745797</cx:pt>
          <cx:pt idx="6039">43.092804722745797</cx:pt>
          <cx:pt idx="6040">43.092804722745797</cx:pt>
          <cx:pt idx="6041">41.443477383339903</cx:pt>
          <cx:pt idx="6042">41.443477383339903</cx:pt>
          <cx:pt idx="6043">41.443477383339903</cx:pt>
          <cx:pt idx="6044">41.443477383339903</cx:pt>
          <cx:pt idx="6045">41.443477383339903</cx:pt>
          <cx:pt idx="6046">41.443477383339903</cx:pt>
          <cx:pt idx="6047">41.443477383339903</cx:pt>
          <cx:pt idx="6048">41.443477383339903</cx:pt>
          <cx:pt idx="6049">41.443477383339903</cx:pt>
          <cx:pt idx="6050">41.443477383339903</cx:pt>
          <cx:pt idx="6051">41.443477383339903</cx:pt>
          <cx:pt idx="6052">41.443477383339903</cx:pt>
          <cx:pt idx="6053">41.443477383339903</cx:pt>
          <cx:pt idx="6054">41.443477383339903</cx:pt>
          <cx:pt idx="6055">41.443477383339903</cx:pt>
          <cx:pt idx="6056">41.443477383339903</cx:pt>
          <cx:pt idx="6057">41.443477383339903</cx:pt>
          <cx:pt idx="6058">41.443477383339903</cx:pt>
          <cx:pt idx="6059">41.443477383339903</cx:pt>
          <cx:pt idx="6060">41.443477383339903</cx:pt>
          <cx:pt idx="6061">41.443477383339903</cx:pt>
          <cx:pt idx="6062">41.443477383339903</cx:pt>
          <cx:pt idx="6063">41.358342881126298</cx:pt>
          <cx:pt idx="6064">41.358342881126298</cx:pt>
          <cx:pt idx="6065">41.358342881126298</cx:pt>
          <cx:pt idx="6066">41.358342881126298</cx:pt>
          <cx:pt idx="6067">41.358342881126298</cx:pt>
          <cx:pt idx="6068">41.358342881126298</cx:pt>
          <cx:pt idx="6069">41.358342881126298</cx:pt>
          <cx:pt idx="6070">41.358342881126298</cx:pt>
          <cx:pt idx="6071">41.358342881126298</cx:pt>
          <cx:pt idx="6072">41.358342881126298</cx:pt>
          <cx:pt idx="6073">41.358342881126298</cx:pt>
          <cx:pt idx="6074">41.358342881126298</cx:pt>
          <cx:pt idx="6075">41.358342881126298</cx:pt>
          <cx:pt idx="6076">41.358342881126298</cx:pt>
          <cx:pt idx="6077">41.358342881126298</cx:pt>
          <cx:pt idx="6078">41.358342881126298</cx:pt>
          <cx:pt idx="6079">41.358342881126298</cx:pt>
          <cx:pt idx="6080">41.358342881126298</cx:pt>
          <cx:pt idx="6081">41.358342881126298</cx:pt>
          <cx:pt idx="6082">41.358342881126298</cx:pt>
          <cx:pt idx="6083">41.358342881126298</cx:pt>
          <cx:pt idx="6084">41.152339693567001</cx:pt>
          <cx:pt idx="6085">41.093007422589665</cx:pt>
          <cx:pt idx="6086">41.052808712947048</cx:pt>
          <cx:pt idx="6087">41.052808712947048</cx:pt>
          <cx:pt idx="6088">41.052808712947048</cx:pt>
          <cx:pt idx="6089">41.052808712947048</cx:pt>
          <cx:pt idx="6090">41.052808712947048</cx:pt>
          <cx:pt idx="6091">41.052808712947048</cx:pt>
          <cx:pt idx="6092">41.052808712947048</cx:pt>
          <cx:pt idx="6093">41.052808712947048</cx:pt>
          <cx:pt idx="6094">41.052808712947048</cx:pt>
          <cx:pt idx="6095">41.052808712947048</cx:pt>
          <cx:pt idx="6096">41.052808712947048</cx:pt>
          <cx:pt idx="6097">41.052808712947048</cx:pt>
          <cx:pt idx="6098">41.052808712947048</cx:pt>
          <cx:pt idx="6099">41.052808712947048</cx:pt>
          <cx:pt idx="6100">41.052808712947048</cx:pt>
          <cx:pt idx="6101">41.052808712947048</cx:pt>
          <cx:pt idx="6102">41.052808712946998</cx:pt>
          <cx:pt idx="6103">41.052808712946998</cx:pt>
          <cx:pt idx="6104">41.052808712946998</cx:pt>
          <cx:pt idx="6105">41.052808712946998</cx:pt>
          <cx:pt idx="6106">41.052808712946998</cx:pt>
          <cx:pt idx="6107">41.052808712946998</cx:pt>
          <cx:pt idx="6108">41.052808712946998</cx:pt>
          <cx:pt idx="6109">41.052808712946998</cx:pt>
          <cx:pt idx="6110">41.052808712946998</cx:pt>
          <cx:pt idx="6111">41.052808712946998</cx:pt>
          <cx:pt idx="6112">40.74317581598725</cx:pt>
          <cx:pt idx="6113">40.74317581598725</cx:pt>
          <cx:pt idx="6114">40.74317581598725</cx:pt>
          <cx:pt idx="6115">40.74317581598725</cx:pt>
          <cx:pt idx="6116">40.74317581598725</cx:pt>
          <cx:pt idx="6117">40.184834746192003</cx:pt>
          <cx:pt idx="6118">40.111924098397402</cx:pt>
          <cx:pt idx="6119">39.941457109018103</cx:pt>
          <cx:pt idx="6120">39.941457109018103</cx:pt>
          <cx:pt idx="6121">39.941457109018103</cx:pt>
          <cx:pt idx="6122">39.941457109018103</cx:pt>
          <cx:pt idx="6123">39.941457109018103</cx:pt>
          <cx:pt idx="6124">39.941457109018103</cx:pt>
          <cx:pt idx="6125">39.941457109018103</cx:pt>
          <cx:pt idx="6126">39.941457109018103</cx:pt>
          <cx:pt idx="6127">39.941457109018103</cx:pt>
          <cx:pt idx="6128">39.941457109018103</cx:pt>
          <cx:pt idx="6129">39.941457109018103</cx:pt>
          <cx:pt idx="6130">39.941457109018103</cx:pt>
          <cx:pt idx="6131">39.941457109018103</cx:pt>
          <cx:pt idx="6132">39.941457109018103</cx:pt>
          <cx:pt idx="6133">39.941457109018103</cx:pt>
          <cx:pt idx="6134">39.941457109018103</cx:pt>
          <cx:pt idx="6135">39.941457109018103</cx:pt>
          <cx:pt idx="6136">38.864087949038797</cx:pt>
          <cx:pt idx="6137">38.864087949038797</cx:pt>
          <cx:pt idx="6138">38.003956183142336</cx:pt>
          <cx:pt idx="6139">38.003956183142336</cx:pt>
          <cx:pt idx="6140">38.003956183142336</cx:pt>
          <cx:pt idx="6141">38.003956183142336</cx:pt>
          <cx:pt idx="6142">38.003956183142336</cx:pt>
          <cx:pt idx="6143">38.003956183142336</cx:pt>
          <cx:pt idx="6144">38.003956183142336</cx:pt>
          <cx:pt idx="6145">38.003956183142336</cx:pt>
          <cx:pt idx="6146">38.003956183142336</cx:pt>
          <cx:pt idx="6147">38.003956183142336</cx:pt>
          <cx:pt idx="6148">38.003956183142336</cx:pt>
          <cx:pt idx="6149">37.883455652908602</cx:pt>
          <cx:pt idx="6150">37.883455652908602</cx:pt>
          <cx:pt idx="6151">37.883455652908602</cx:pt>
          <cx:pt idx="6152">37.883455652908602</cx:pt>
          <cx:pt idx="6153">37.883455652908602</cx:pt>
          <cx:pt idx="6154">37.883455652908602</cx:pt>
          <cx:pt idx="6155">37.883455652908602</cx:pt>
          <cx:pt idx="6156">37.883455652908602</cx:pt>
          <cx:pt idx="6157">37.883455652908602</cx:pt>
          <cx:pt idx="6158">37.883455652908602</cx:pt>
          <cx:pt idx="6159">37.883455652908602</cx:pt>
          <cx:pt idx="6160">37.883455652908602</cx:pt>
          <cx:pt idx="6161">37.883455652908602</cx:pt>
          <cx:pt idx="6162">37.883455652908602</cx:pt>
          <cx:pt idx="6163">37.883455652908602</cx:pt>
          <cx:pt idx="6164">37.883455652908602</cx:pt>
          <cx:pt idx="6165">37.883455652908602</cx:pt>
          <cx:pt idx="6166">37.883455652908602</cx:pt>
          <cx:pt idx="6167">37.883455652908602</cx:pt>
          <cx:pt idx="6168">37.883455652908602</cx:pt>
          <cx:pt idx="6169">37.588498316782335</cx:pt>
          <cx:pt idx="6170">37.588498316782335</cx:pt>
          <cx:pt idx="6171">37.584297610118334</cx:pt>
          <cx:pt idx="6172">37.487671181486597</cx:pt>
          <cx:pt idx="6173">37.487671181486597</cx:pt>
          <cx:pt idx="6174">37.487671181486597</cx:pt>
          <cx:pt idx="6175">37.487671181486597</cx:pt>
          <cx:pt idx="6176">37.487671181486597</cx:pt>
          <cx:pt idx="6177">37.487671181486597</cx:pt>
          <cx:pt idx="6178">37.487671181486597</cx:pt>
          <cx:pt idx="6179">37.487671181486597</cx:pt>
          <cx:pt idx="6180">37.487671181486597</cx:pt>
          <cx:pt idx="6181">37.487671181486597</cx:pt>
          <cx:pt idx="6182">37.487671181486597</cx:pt>
          <cx:pt idx="6183">37.487671181486597</cx:pt>
          <cx:pt idx="6184">37.487671181486597</cx:pt>
          <cx:pt idx="6185">37.487671181486597</cx:pt>
          <cx:pt idx="6186">37.487671181486597</cx:pt>
          <cx:pt idx="6187">37.487671181486597</cx:pt>
          <cx:pt idx="6188">37.487671181486597</cx:pt>
          <cx:pt idx="6189">37.487671181486597</cx:pt>
          <cx:pt idx="6190">37.487671181486597</cx:pt>
          <cx:pt idx="6191">37.487671181486597</cx:pt>
          <cx:pt idx="6192">37.337988307434202</cx:pt>
          <cx:pt idx="6193">36.6697881650772</cx:pt>
          <cx:pt idx="6194">36.6697881650772</cx:pt>
          <cx:pt idx="6195">36.6697881650772</cx:pt>
          <cx:pt idx="6196">36.6697881650772</cx:pt>
          <cx:pt idx="6197">36.6697881650772</cx:pt>
          <cx:pt idx="6198">36.6697881650772</cx:pt>
          <cx:pt idx="6199">36.6697881650772</cx:pt>
          <cx:pt idx="6200">36.6697881650772</cx:pt>
          <cx:pt idx="6201">36.6697881650772</cx:pt>
          <cx:pt idx="6202">36.6697881650772</cx:pt>
          <cx:pt idx="6203">36.6697881650772</cx:pt>
          <cx:pt idx="6204">36.6697881650772</cx:pt>
          <cx:pt idx="6205">36.6697881650772</cx:pt>
          <cx:pt idx="6206">36.6697881650772</cx:pt>
          <cx:pt idx="6207">36.6697881650772</cx:pt>
          <cx:pt idx="6208">36.6697881650772</cx:pt>
          <cx:pt idx="6209">36.6697881650772</cx:pt>
          <cx:pt idx="6210">36.6697881650772</cx:pt>
          <cx:pt idx="6211">36.6697881650772</cx:pt>
          <cx:pt idx="6212">36.6697881650772</cx:pt>
          <cx:pt idx="6213">36.255684961004</cx:pt>
          <cx:pt idx="6214">35.753096878101601</cx:pt>
          <cx:pt idx="6215">35.753096878101601</cx:pt>
          <cx:pt idx="6216">35.753096878101601</cx:pt>
          <cx:pt idx="6217">35.753096878101601</cx:pt>
          <cx:pt idx="6218">35.753096878101601</cx:pt>
          <cx:pt idx="6219">35.753096878101601</cx:pt>
          <cx:pt idx="6220">35.753096878101601</cx:pt>
          <cx:pt idx="6221">35.753096878101601</cx:pt>
          <cx:pt idx="6222">35.753096878101601</cx:pt>
          <cx:pt idx="6223">35.753096878101601</cx:pt>
          <cx:pt idx="6224">35.753096878101601</cx:pt>
          <cx:pt idx="6225">35.753096878101601</cx:pt>
          <cx:pt idx="6226">35.753096878101601</cx:pt>
          <cx:pt idx="6227">35.753096878101601</cx:pt>
          <cx:pt idx="6228">35.753096878101601</cx:pt>
          <cx:pt idx="6229">35.753096878101601</cx:pt>
          <cx:pt idx="6230">35.753096878101601</cx:pt>
          <cx:pt idx="6231">35.753096878101601</cx:pt>
          <cx:pt idx="6232">35.753096878101601</cx:pt>
          <cx:pt idx="6233">35.753096878101601</cx:pt>
          <cx:pt idx="6234">35.415300931077667</cx:pt>
          <cx:pt idx="6235">35.415300931077667</cx:pt>
          <cx:pt idx="6236">35.13148204146767</cx:pt>
          <cx:pt idx="6237">35.13148204146767</cx:pt>
          <cx:pt idx="6238">35.13148204146767</cx:pt>
          <cx:pt idx="6239">35.13148204146767</cx:pt>
          <cx:pt idx="6240">35.13148204146767</cx:pt>
          <cx:pt idx="6241">35.13148204146767</cx:pt>
          <cx:pt idx="6242">35.13148204146767</cx:pt>
          <cx:pt idx="6243">35.13148204146767</cx:pt>
          <cx:pt idx="6244">35.13148204146767</cx:pt>
          <cx:pt idx="6245">34.705210216026202</cx:pt>
          <cx:pt idx="6246">34.705210216026202</cx:pt>
          <cx:pt idx="6247">34.562242399883665</cx:pt>
          <cx:pt idx="6248">34.562242399883665</cx:pt>
          <cx:pt idx="6249">34.562242399883665</cx:pt>
          <cx:pt idx="6250">34.562242399883665</cx:pt>
          <cx:pt idx="6251">34.562242399883665</cx:pt>
          <cx:pt idx="6252">34.562242399883665</cx:pt>
          <cx:pt idx="6253">34.562242399883665</cx:pt>
          <cx:pt idx="6254">34.562242399883665</cx:pt>
          <cx:pt idx="6255">34.562242399883665</cx:pt>
          <cx:pt idx="6256">34.562242399883665</cx:pt>
          <cx:pt idx="6257">34.546999725941447</cx:pt>
          <cx:pt idx="6258">34.546999725941447</cx:pt>
          <cx:pt idx="6259">34.546999725941447</cx:pt>
          <cx:pt idx="6260">34.432276705662247</cx:pt>
          <cx:pt idx="6261">34.1212713915263</cx:pt>
          <cx:pt idx="6262">34.1212713915263</cx:pt>
          <cx:pt idx="6263">34.1212713915263</cx:pt>
          <cx:pt idx="6264">34.1212713915263</cx:pt>
          <cx:pt idx="6265">34.1212713915263</cx:pt>
          <cx:pt idx="6266">34.1212713915263</cx:pt>
          <cx:pt idx="6267">34.1212713915263</cx:pt>
          <cx:pt idx="6268">34.1212713915263</cx:pt>
          <cx:pt idx="6269">34.1212713915263</cx:pt>
          <cx:pt idx="6270">34.1212713915263</cx:pt>
          <cx:pt idx="6271">34.1212713915263</cx:pt>
          <cx:pt idx="6272">34.1212713915263</cx:pt>
          <cx:pt idx="6273">34.1212713915263</cx:pt>
          <cx:pt idx="6274">34.1212713915263</cx:pt>
          <cx:pt idx="6275">34.1212713915263</cx:pt>
          <cx:pt idx="6276">34.1212713915263</cx:pt>
          <cx:pt idx="6277">34.1212713915263</cx:pt>
          <cx:pt idx="6278">34.1212713915263</cx:pt>
          <cx:pt idx="6279">34.1212713915263</cx:pt>
          <cx:pt idx="6280">34.1212713915263</cx:pt>
          <cx:pt idx="6281">34.1212713915263</cx:pt>
          <cx:pt idx="6282">34.1212713915263</cx:pt>
          <cx:pt idx="6283">34.099447447179102</cx:pt>
          <cx:pt idx="6284">34.099447447179102</cx:pt>
          <cx:pt idx="6285">34.099447447179102</cx:pt>
          <cx:pt idx="6286">34.099447447179102</cx:pt>
          <cx:pt idx="6287">34.099447447179102</cx:pt>
          <cx:pt idx="6288">34.099447447179102</cx:pt>
          <cx:pt idx="6289">34.099447447179102</cx:pt>
          <cx:pt idx="6290">34.099447447179102</cx:pt>
          <cx:pt idx="6291">34.099447447179102</cx:pt>
          <cx:pt idx="6292">34.099447447179102</cx:pt>
          <cx:pt idx="6293">34.099447447179102</cx:pt>
          <cx:pt idx="6294">34.099447447179102</cx:pt>
          <cx:pt idx="6295">34.099447447179102</cx:pt>
          <cx:pt idx="6296">34.099447447179102</cx:pt>
          <cx:pt idx="6297">34.099447447179102</cx:pt>
          <cx:pt idx="6298">33.922451745768399</cx:pt>
          <cx:pt idx="6299">33.922451745768399</cx:pt>
          <cx:pt idx="6300">33.922451745768399</cx:pt>
          <cx:pt idx="6301">33.922451745768399</cx:pt>
          <cx:pt idx="6302">33.922451745768399</cx:pt>
          <cx:pt idx="6303">33.922451745768399</cx:pt>
          <cx:pt idx="6304">33.922451745768399</cx:pt>
          <cx:pt idx="6305">33.922451745768399</cx:pt>
          <cx:pt idx="6306">33.922451745768399</cx:pt>
          <cx:pt idx="6307">33.922451745768399</cx:pt>
          <cx:pt idx="6308">33.922451745768399</cx:pt>
          <cx:pt idx="6309">33.922451745768399</cx:pt>
          <cx:pt idx="6310">33.922451745768399</cx:pt>
          <cx:pt idx="6311">33.922451745768399</cx:pt>
          <cx:pt idx="6312">33.922451745768399</cx:pt>
          <cx:pt idx="6313">33.922451745768399</cx:pt>
          <cx:pt idx="6314">33.922451745768399</cx:pt>
          <cx:pt idx="6315">33.922451745768399</cx:pt>
          <cx:pt idx="6316">33.094918694167852</cx:pt>
          <cx:pt idx="6317">33.094918694167852</cx:pt>
          <cx:pt idx="6318">33.094918694167852</cx:pt>
          <cx:pt idx="6319">33.024499665995499</cx:pt>
          <cx:pt idx="6320">33.024499665995499</cx:pt>
          <cx:pt idx="6321">33.024499665995499</cx:pt>
          <cx:pt idx="6322">33.024499665995499</cx:pt>
          <cx:pt idx="6323">33.024499665995499</cx:pt>
          <cx:pt idx="6324">33.024499665995499</cx:pt>
          <cx:pt idx="6325">33.024499665995499</cx:pt>
          <cx:pt idx="6326">33.024499665995499</cx:pt>
          <cx:pt idx="6327">33.024499665995499</cx:pt>
          <cx:pt idx="6328">33.024499665995499</cx:pt>
          <cx:pt idx="6329">33.024499665995499</cx:pt>
          <cx:pt idx="6330">33.024499665995499</cx:pt>
          <cx:pt idx="6331">33.024499665995499</cx:pt>
          <cx:pt idx="6332">33.024499665995499</cx:pt>
          <cx:pt idx="6333">33.024499665995499</cx:pt>
          <cx:pt idx="6334">33.024499665995499</cx:pt>
          <cx:pt idx="6335">33.024499665995499</cx:pt>
          <cx:pt idx="6336">33.024499665995499</cx:pt>
          <cx:pt idx="6337">32.601105640505665</cx:pt>
          <cx:pt idx="6338">32.584895669198396</cx:pt>
          <cx:pt idx="6339">32.584895669198396</cx:pt>
          <cx:pt idx="6340">32.335080456098403</cx:pt>
          <cx:pt idx="6341">32.335080456098403</cx:pt>
          <cx:pt idx="6342">32.173658927707748</cx:pt>
          <cx:pt idx="6343">31.35421834548195</cx:pt>
          <cx:pt idx="6344">31.35421834548195</cx:pt>
          <cx:pt idx="6345">31.35421834548195</cx:pt>
          <cx:pt idx="6346">31.35421834548195</cx:pt>
          <cx:pt idx="6347">31.35421834548195</cx:pt>
          <cx:pt idx="6348">31.35421834548195</cx:pt>
          <cx:pt idx="6349">31.35421834548195</cx:pt>
          <cx:pt idx="6350">31.35421834548195</cx:pt>
          <cx:pt idx="6351">31.35421834548195</cx:pt>
          <cx:pt idx="6352">31.35421834548195</cx:pt>
          <cx:pt idx="6353">31.35421834548195</cx:pt>
          <cx:pt idx="6354">31.35421834548195</cx:pt>
          <cx:pt idx="6355">31.35421834548195</cx:pt>
          <cx:pt idx="6356">31.35421834548195</cx:pt>
          <cx:pt idx="6357">31.35421834548195</cx:pt>
          <cx:pt idx="6358">31.35421834548195</cx:pt>
          <cx:pt idx="6359">31.35421834548195</cx:pt>
          <cx:pt idx="6360">31.35421834548195</cx:pt>
          <cx:pt idx="6361">31.35421834548195</cx:pt>
          <cx:pt idx="6362">31.35421834548195</cx:pt>
          <cx:pt idx="6363">31.141304091401999</cx:pt>
          <cx:pt idx="6364">31.141304091401999</cx:pt>
          <cx:pt idx="6365">31.141304091401999</cx:pt>
          <cx:pt idx="6366">31.141304091401999</cx:pt>
          <cx:pt idx="6367">31.141304091401999</cx:pt>
          <cx:pt idx="6368">31.141304091401999</cx:pt>
          <cx:pt idx="6369">31.141304091401999</cx:pt>
          <cx:pt idx="6370">31.141304091401999</cx:pt>
          <cx:pt idx="6371">31.122099956350368</cx:pt>
          <cx:pt idx="6372">31.122099956350368</cx:pt>
          <cx:pt idx="6373">31.122099956350368</cx:pt>
          <cx:pt idx="6374">31.015874787890699</cx:pt>
          <cx:pt idx="6375">31.015874787890699</cx:pt>
          <cx:pt idx="6376">31.015874787890699</cx:pt>
          <cx:pt idx="6377">31.015874787890699</cx:pt>
          <cx:pt idx="6378">31.015874787890699</cx:pt>
          <cx:pt idx="6379">31.015874787890699</cx:pt>
          <cx:pt idx="6380">31.015874787890699</cx:pt>
          <cx:pt idx="6381">31.015874787890699</cx:pt>
          <cx:pt idx="6382">31.015874787890699</cx:pt>
          <cx:pt idx="6383">31.015874787890699</cx:pt>
          <cx:pt idx="6384">31.015874787890699</cx:pt>
          <cx:pt idx="6385">31.015874787890699</cx:pt>
          <cx:pt idx="6386">31.015874787890699</cx:pt>
          <cx:pt idx="6387">31.015874787890699</cx:pt>
          <cx:pt idx="6388">31.015874787890699</cx:pt>
          <cx:pt idx="6389">31.015874787890699</cx:pt>
          <cx:pt idx="6390">31.015874787890699</cx:pt>
          <cx:pt idx="6391">31.015874787890699</cx:pt>
          <cx:pt idx="6392">30.5998912661864</cx:pt>
          <cx:pt idx="6393">30.5998912661864</cx:pt>
          <cx:pt idx="6394">30.5998912661864</cx:pt>
          <cx:pt idx="6395">30.5998912661864</cx:pt>
          <cx:pt idx="6396">30.5998912661864</cx:pt>
          <cx:pt idx="6397">30.5998912661864</cx:pt>
          <cx:pt idx="6398">30.5998912661864</cx:pt>
          <cx:pt idx="6399">30.5998912661864</cx:pt>
          <cx:pt idx="6400">30.5998912661864</cx:pt>
          <cx:pt idx="6401">30.5998912661864</cx:pt>
          <cx:pt idx="6402">30.5998912661864</cx:pt>
          <cx:pt idx="6403">30.5998912661864</cx:pt>
          <cx:pt idx="6404">30.59288054740583</cx:pt>
          <cx:pt idx="6405">30.59288054740583</cx:pt>
          <cx:pt idx="6406">30.59288054740583</cx:pt>
          <cx:pt idx="6407">30.59288054740583</cx:pt>
          <cx:pt idx="6408">30.59288054740583</cx:pt>
          <cx:pt idx="6409">30.59288054740583</cx:pt>
          <cx:pt idx="6410">30.31566953338055</cx:pt>
          <cx:pt idx="6411">30.31566953338055</cx:pt>
          <cx:pt idx="6412">30.055056335315001</cx:pt>
          <cx:pt idx="6413">30.055056335315001</cx:pt>
          <cx:pt idx="6414">30.055056335315001</cx:pt>
          <cx:pt idx="6415">30.050035628184531</cx:pt>
          <cx:pt idx="6416">30.050035628184531</cx:pt>
          <cx:pt idx="6417">29.940574695678752</cx:pt>
          <cx:pt idx="6418">29.940574695678752</cx:pt>
          <cx:pt idx="6419">29.940574695678752</cx:pt>
          <cx:pt idx="6420">29.940574695678752</cx:pt>
          <cx:pt idx="6421">29.940574695678752</cx:pt>
          <cx:pt idx="6422">29.940574695678752</cx:pt>
          <cx:pt idx="6423">29.940574695678752</cx:pt>
          <cx:pt idx="6424">29.940574695678752</cx:pt>
          <cx:pt idx="6425">29.940574695678752</cx:pt>
          <cx:pt idx="6426">29.940574695678752</cx:pt>
          <cx:pt idx="6427">29.940574695678752</cx:pt>
          <cx:pt idx="6428">29.940574695678752</cx:pt>
          <cx:pt idx="6429">29.940574695678752</cx:pt>
          <cx:pt idx="6430">29.940574695678752</cx:pt>
          <cx:pt idx="6431">29.940574695678752</cx:pt>
          <cx:pt idx="6432">29.940574695678752</cx:pt>
          <cx:pt idx="6433">29.940574695678752</cx:pt>
          <cx:pt idx="6434">29.940574695678752</cx:pt>
          <cx:pt idx="6435">29.940574695678752</cx:pt>
          <cx:pt idx="6436">29.940574695678752</cx:pt>
          <cx:pt idx="6437">29.940574695678752</cx:pt>
          <cx:pt idx="6438">29.940574695678752</cx:pt>
          <cx:pt idx="6439">29.6850654664952</cx:pt>
          <cx:pt idx="6440">29.6850654664952</cx:pt>
          <cx:pt idx="6441">29.6850654664952</cx:pt>
          <cx:pt idx="6442">29.6850654664952</cx:pt>
          <cx:pt idx="6443">29.6850654664952</cx:pt>
          <cx:pt idx="6444">29.6850654664952</cx:pt>
          <cx:pt idx="6445">29.6850654664952</cx:pt>
          <cx:pt idx="6446">29.6850654664952</cx:pt>
          <cx:pt idx="6447">29.6850654664952</cx:pt>
          <cx:pt idx="6448">29.6850654664952</cx:pt>
          <cx:pt idx="6449">29.6850654664952</cx:pt>
          <cx:pt idx="6450">29.6850654664952</cx:pt>
          <cx:pt idx="6451">29.6850654664952</cx:pt>
          <cx:pt idx="6452">29.669297819776801</cx:pt>
          <cx:pt idx="6453">29.669297819776801</cx:pt>
          <cx:pt idx="6454">29.347057773409549</cx:pt>
          <cx:pt idx="6455">29.347057773409549</cx:pt>
          <cx:pt idx="6456">29.347057773409549</cx:pt>
          <cx:pt idx="6457">29.347057773409549</cx:pt>
          <cx:pt idx="6458">29.347057773409549</cx:pt>
          <cx:pt idx="6459">29.347057773409549</cx:pt>
          <cx:pt idx="6460">29.347057773409549</cx:pt>
          <cx:pt idx="6461">29.347057773409549</cx:pt>
          <cx:pt idx="6462">29.347057773409549</cx:pt>
          <cx:pt idx="6463">29.347057773409549</cx:pt>
          <cx:pt idx="6464">29.347057773409549</cx:pt>
          <cx:pt idx="6465">29.347057773409549</cx:pt>
          <cx:pt idx="6466">29.347057773409549</cx:pt>
          <cx:pt idx="6467">29.347057773409549</cx:pt>
          <cx:pt idx="6468">29.347057773409549</cx:pt>
          <cx:pt idx="6469">29.347057773409549</cx:pt>
          <cx:pt idx="6470">29.329159825702199</cx:pt>
          <cx:pt idx="6471">29.329159825702199</cx:pt>
          <cx:pt idx="6472">29.329159825702199</cx:pt>
          <cx:pt idx="6473">29.329159825702199</cx:pt>
          <cx:pt idx="6474">29.1817959300387</cx:pt>
          <cx:pt idx="6475">29.1817959300387</cx:pt>
          <cx:pt idx="6476">29.1817959300387</cx:pt>
          <cx:pt idx="6477">29.1817959300387</cx:pt>
          <cx:pt idx="6478">29.1817959300387</cx:pt>
          <cx:pt idx="6479">29.1817959300387</cx:pt>
          <cx:pt idx="6480">29.1817959300387</cx:pt>
          <cx:pt idx="6481">29.1817959300387</cx:pt>
          <cx:pt idx="6482">29.1817959300387</cx:pt>
          <cx:pt idx="6483">29.1817959300387</cx:pt>
          <cx:pt idx="6484">29.1817959300387</cx:pt>
          <cx:pt idx="6485">29.1817959300387</cx:pt>
          <cx:pt idx="6486">29.1817959300387</cx:pt>
          <cx:pt idx="6487">29.1817959300387</cx:pt>
          <cx:pt idx="6488">29.1817959300387</cx:pt>
          <cx:pt idx="6489">29.1817959300387</cx:pt>
          <cx:pt idx="6490">29.1817959300387</cx:pt>
          <cx:pt idx="6491">29.1817959300387</cx:pt>
          <cx:pt idx="6492">29.1817959300387</cx:pt>
          <cx:pt idx="6493">29.053853844669899</cx:pt>
          <cx:pt idx="6494">29.053853844669899</cx:pt>
          <cx:pt idx="6495">29.053853844669899</cx:pt>
          <cx:pt idx="6496">29.053853844669899</cx:pt>
          <cx:pt idx="6497">29.053853844669899</cx:pt>
          <cx:pt idx="6498">29.053853844669899</cx:pt>
          <cx:pt idx="6499">29.053853844669899</cx:pt>
          <cx:pt idx="6500">28.941491222342002</cx:pt>
          <cx:pt idx="6501">28.0214899079213</cx:pt>
          <cx:pt idx="6502">28.0214899079213</cx:pt>
          <cx:pt idx="6503">28.0214899079213</cx:pt>
          <cx:pt idx="6504">28.0214899079213</cx:pt>
          <cx:pt idx="6505">28.0214899079213</cx:pt>
          <cx:pt idx="6506">28.0214899079213</cx:pt>
          <cx:pt idx="6507">28.0214899079213</cx:pt>
          <cx:pt idx="6508">28.0214899079213</cx:pt>
          <cx:pt idx="6509">28.0214899079213</cx:pt>
          <cx:pt idx="6510">28.0214899079213</cx:pt>
          <cx:pt idx="6511">28.0214899079213</cx:pt>
          <cx:pt idx="6512">28.0214899079213</cx:pt>
          <cx:pt idx="6513">28.0214899079213</cx:pt>
          <cx:pt idx="6514">28.0214899079213</cx:pt>
          <cx:pt idx="6515">28.0214899079213</cx:pt>
          <cx:pt idx="6516">28.0214899079213</cx:pt>
          <cx:pt idx="6517">28.0214899079213</cx:pt>
          <cx:pt idx="6518">28.0214899079213</cx:pt>
          <cx:pt idx="6519">28.0214899079213</cx:pt>
          <cx:pt idx="6520">28.0214899079213</cx:pt>
          <cx:pt idx="6521">28.0214899079213</cx:pt>
          <cx:pt idx="6522">28.0214899079213</cx:pt>
          <cx:pt idx="6523">28.0214899079213</cx:pt>
          <cx:pt idx="6524">28.0214899079213</cx:pt>
          <cx:pt idx="6525">28.0214899079213</cx:pt>
          <cx:pt idx="6526">28.0214899079213</cx:pt>
          <cx:pt idx="6527">27.828316124342649</cx:pt>
          <cx:pt idx="6528">27.828316124342649</cx:pt>
          <cx:pt idx="6529">27.828316124342649</cx:pt>
          <cx:pt idx="6530">27.828316124342649</cx:pt>
          <cx:pt idx="6531">27.828316124342649</cx:pt>
          <cx:pt idx="6532">27.828316124342649</cx:pt>
          <cx:pt idx="6533">27.828316124342649</cx:pt>
          <cx:pt idx="6534">27.828316124342649</cx:pt>
          <cx:pt idx="6535">27.828316124342649</cx:pt>
          <cx:pt idx="6536">27.828316124342649</cx:pt>
          <cx:pt idx="6537">27.828316124342649</cx:pt>
          <cx:pt idx="6538">27.828316124342649</cx:pt>
          <cx:pt idx="6539">27.828316124342649</cx:pt>
          <cx:pt idx="6540">27.828316124342649</cx:pt>
          <cx:pt idx="6541">27.828316124342649</cx:pt>
          <cx:pt idx="6542">27.828316124342649</cx:pt>
          <cx:pt idx="6543">27.828316124342649</cx:pt>
          <cx:pt idx="6544">27.828316124342649</cx:pt>
          <cx:pt idx="6545">27.828316124342649</cx:pt>
          <cx:pt idx="6546">27.828316124342649</cx:pt>
          <cx:pt idx="6547">27.828316124342649</cx:pt>
          <cx:pt idx="6548">27.828316124342649</cx:pt>
          <cx:pt idx="6549">27.828316124342649</cx:pt>
          <cx:pt idx="6550">27.828316124342649</cx:pt>
          <cx:pt idx="6551">27.396122324891135</cx:pt>
          <cx:pt idx="6552">27.065929632286899</cx:pt>
          <cx:pt idx="6553">27.065929632286899</cx:pt>
          <cx:pt idx="6554">27.065929632286899</cx:pt>
          <cx:pt idx="6555">27.065929632286899</cx:pt>
          <cx:pt idx="6556">27.065929632286899</cx:pt>
          <cx:pt idx="6557">27.065929632286899</cx:pt>
          <cx:pt idx="6558">27.065929632286899</cx:pt>
          <cx:pt idx="6559">27.065929632286899</cx:pt>
          <cx:pt idx="6560">27.065929632286899</cx:pt>
          <cx:pt idx="6561">27.065929632286899</cx:pt>
          <cx:pt idx="6562">27.065929632286899</cx:pt>
          <cx:pt idx="6563">27.065929632286899</cx:pt>
          <cx:pt idx="6564">27.065929632286899</cx:pt>
          <cx:pt idx="6565">27.065929632286899</cx:pt>
          <cx:pt idx="6566">27.065929632286899</cx:pt>
          <cx:pt idx="6567">27.065929632286899</cx:pt>
          <cx:pt idx="6568">27.065929632286899</cx:pt>
          <cx:pt idx="6569">27.02923062076125</cx:pt>
          <cx:pt idx="6570">27.02923062076125</cx:pt>
          <cx:pt idx="6571">27.02923062076125</cx:pt>
          <cx:pt idx="6572">27.02923062076125</cx:pt>
          <cx:pt idx="6573">26.977637087861201</cx:pt>
          <cx:pt idx="6574">26.977637087861201</cx:pt>
          <cx:pt idx="6575">26.628596006545234</cx:pt>
          <cx:pt idx="6576">26.589485743975569</cx:pt>
          <cx:pt idx="6577">26.196008394282799</cx:pt>
          <cx:pt idx="6578">26.196008394282799</cx:pt>
          <cx:pt idx="6579">26.196008394282799</cx:pt>
          <cx:pt idx="6580">26.196008394282799</cx:pt>
          <cx:pt idx="6581">26.196008394282799</cx:pt>
          <cx:pt idx="6582">26.196008394282799</cx:pt>
          <cx:pt idx="6583">26.196008394282799</cx:pt>
          <cx:pt idx="6584">26.196008394282799</cx:pt>
          <cx:pt idx="6585">26.196008394282799</cx:pt>
          <cx:pt idx="6586">26.196008394282799</cx:pt>
          <cx:pt idx="6587">26.196008394282799</cx:pt>
          <cx:pt idx="6588">26.196008394282799</cx:pt>
          <cx:pt idx="6589">26.196008394282799</cx:pt>
          <cx:pt idx="6590">26.196008394282799</cx:pt>
          <cx:pt idx="6591">26.196008394282799</cx:pt>
          <cx:pt idx="6592">26.196008394282799</cx:pt>
          <cx:pt idx="6593">26.196008394282799</cx:pt>
          <cx:pt idx="6594">26.196008394282799</cx:pt>
          <cx:pt idx="6595">26.196008394282799</cx:pt>
          <cx:pt idx="6596">26.196008394282799</cx:pt>
          <cx:pt idx="6597">26.196008394282799</cx:pt>
          <cx:pt idx="6598">26.196008394282799</cx:pt>
          <cx:pt idx="6599">26.196008394282799</cx:pt>
          <cx:pt idx="6600">26.156725199171898</cx:pt>
          <cx:pt idx="6601">26.156725199171898</cx:pt>
          <cx:pt idx="6602">25.839997623437402</cx:pt>
          <cx:pt idx="6603">25.839997623437402</cx:pt>
          <cx:pt idx="6604">25.839997623437402</cx:pt>
          <cx:pt idx="6605">25.839997623437402</cx:pt>
          <cx:pt idx="6606">25.839997623437402</cx:pt>
          <cx:pt idx="6607">25.839997623437402</cx:pt>
          <cx:pt idx="6608">25.839997623437402</cx:pt>
          <cx:pt idx="6609">25.839997623437402</cx:pt>
          <cx:pt idx="6610">25.839997623437402</cx:pt>
          <cx:pt idx="6611">25.839997623437402</cx:pt>
          <cx:pt idx="6612">25.839997623437402</cx:pt>
          <cx:pt idx="6613">25.839997623437402</cx:pt>
          <cx:pt idx="6614">25.839997623437402</cx:pt>
          <cx:pt idx="6615">25.839997623437402</cx:pt>
          <cx:pt idx="6616">25.839997623437402</cx:pt>
          <cx:pt idx="6617">25.839997623437402</cx:pt>
          <cx:pt idx="6618">25.320838064641251</cx:pt>
          <cx:pt idx="6619">25.156068490397249</cx:pt>
          <cx:pt idx="6620">25.147906314781999</cx:pt>
          <cx:pt idx="6621">24.979436881496252</cx:pt>
          <cx:pt idx="6622">24.979436881496252</cx:pt>
          <cx:pt idx="6623">24.739833016444251</cx:pt>
          <cx:pt idx="6624">24.716822213514135</cx:pt>
          <cx:pt idx="6625">24.716822213514135</cx:pt>
          <cx:pt idx="6626">24.716822213514135</cx:pt>
          <cx:pt idx="6627">24.716822213514135</cx:pt>
          <cx:pt idx="6628">24.716822213514135</cx:pt>
          <cx:pt idx="6629">24.716822213514135</cx:pt>
          <cx:pt idx="6630">24.716822213514135</cx:pt>
          <cx:pt idx="6631">24.716822213514135</cx:pt>
          <cx:pt idx="6632">24.716822213514135</cx:pt>
          <cx:pt idx="6633">24.716822213514135</cx:pt>
          <cx:pt idx="6634">24.477607772170551</cx:pt>
          <cx:pt idx="6635">24.477607772170551</cx:pt>
          <cx:pt idx="6636">24.477607772170551</cx:pt>
          <cx:pt idx="6637">24.477607772170551</cx:pt>
          <cx:pt idx="6638">24.477607772170551</cx:pt>
          <cx:pt idx="6639">24.477607772170551</cx:pt>
          <cx:pt idx="6640">24.477607772170551</cx:pt>
          <cx:pt idx="6641">24.380627797776452</cx:pt>
          <cx:pt idx="6642">24.240752964061798</cx:pt>
          <cx:pt idx="6643">24.1848959232358</cx:pt>
          <cx:pt idx="6644">24.1848959232358</cx:pt>
          <cx:pt idx="6645">24.1848959232358</cx:pt>
          <cx:pt idx="6646">23.982744894041499</cx:pt>
          <cx:pt idx="6647">23.982744894041499</cx:pt>
          <cx:pt idx="6648">23.982744894041499</cx:pt>
          <cx:pt idx="6649">23.982744894041499</cx:pt>
          <cx:pt idx="6650">23.982744894041499</cx:pt>
          <cx:pt idx="6651">23.982744894041499</cx:pt>
          <cx:pt idx="6652">23.982744894041499</cx:pt>
          <cx:pt idx="6653">23.982744894041499</cx:pt>
          <cx:pt idx="6654">23.982744894041499</cx:pt>
          <cx:pt idx="6655">23.982744894041499</cx:pt>
          <cx:pt idx="6656">23.982744894041499</cx:pt>
          <cx:pt idx="6657">23.982744894041499</cx:pt>
          <cx:pt idx="6658">23.982744894041499</cx:pt>
          <cx:pt idx="6659">23.70788878328225</cx:pt>
          <cx:pt idx="6660">23.662057149052874</cx:pt>
          <cx:pt idx="6661">23.662057149052874</cx:pt>
          <cx:pt idx="6662">23.662057149052874</cx:pt>
          <cx:pt idx="6663">23.662057149052874</cx:pt>
          <cx:pt idx="6664">23.662057149052874</cx:pt>
          <cx:pt idx="6665">23.65500638056513</cx:pt>
          <cx:pt idx="6666">23.65500638056513</cx:pt>
          <cx:pt idx="6667">23.65500638056513</cx:pt>
          <cx:pt idx="6668">23.65500638056513</cx:pt>
          <cx:pt idx="6669">23.65500638056513</cx:pt>
          <cx:pt idx="6670">23.65500638056513</cx:pt>
          <cx:pt idx="6671">23.65500638056513</cx:pt>
          <cx:pt idx="6672">23.65500638056513</cx:pt>
          <cx:pt idx="6673">23.65500638056513</cx:pt>
          <cx:pt idx="6674">23.65500638056513</cx:pt>
          <cx:pt idx="6675">23.65500638056513</cx:pt>
          <cx:pt idx="6676">23.602599515611701</cx:pt>
          <cx:pt idx="6677">23.602599515611701</cx:pt>
          <cx:pt idx="6678">23.602599515611701</cx:pt>
          <cx:pt idx="6679">23.602599515611701</cx:pt>
          <cx:pt idx="6680">23.602599515611701</cx:pt>
          <cx:pt idx="6681">23.602599515611701</cx:pt>
          <cx:pt idx="6682">23.602599515611701</cx:pt>
          <cx:pt idx="6683">23.602599515611701</cx:pt>
          <cx:pt idx="6684">23.602599515611701</cx:pt>
          <cx:pt idx="6685">23.602599515611701</cx:pt>
          <cx:pt idx="6686">23.602599515611701</cx:pt>
          <cx:pt idx="6687">23.602599515611701</cx:pt>
          <cx:pt idx="6688">23.602599515611701</cx:pt>
          <cx:pt idx="6689">23.602599515611701</cx:pt>
          <cx:pt idx="6690">23.602599515611701</cx:pt>
          <cx:pt idx="6691">23.543350919982149</cx:pt>
          <cx:pt idx="6692">23.543350919982149</cx:pt>
          <cx:pt idx="6693">23.543350919982149</cx:pt>
          <cx:pt idx="6694">23.527396915836</cx:pt>
          <cx:pt idx="6695">23.446254821033548</cx:pt>
          <cx:pt idx="6696">23.446254821033548</cx:pt>
          <cx:pt idx="6697">23.446254821033548</cx:pt>
          <cx:pt idx="6698">23.446254821033548</cx:pt>
          <cx:pt idx="6699">23.446254821033548</cx:pt>
          <cx:pt idx="6700">23.446254821033548</cx:pt>
          <cx:pt idx="6701">23.446254821033548</cx:pt>
          <cx:pt idx="6702">23.446254821033548</cx:pt>
          <cx:pt idx="6703">23.446254821033548</cx:pt>
          <cx:pt idx="6704">23.446254821033548</cx:pt>
          <cx:pt idx="6705">23.446254821033548</cx:pt>
          <cx:pt idx="6706">23.446254821033548</cx:pt>
          <cx:pt idx="6707">23.446254821033548</cx:pt>
          <cx:pt idx="6708">23.446254821033548</cx:pt>
          <cx:pt idx="6709">23.446254821033548</cx:pt>
          <cx:pt idx="6710">23.446254821033548</cx:pt>
          <cx:pt idx="6711">23.446254821033548</cx:pt>
          <cx:pt idx="6712">23.446254821033548</cx:pt>
          <cx:pt idx="6713">23.446254821033548</cx:pt>
          <cx:pt idx="6714">23.446254821033548</cx:pt>
          <cx:pt idx="6715">23.446254821033548</cx:pt>
          <cx:pt idx="6716">23.3886731631498</cx:pt>
          <cx:pt idx="6717">23.3886731631498</cx:pt>
          <cx:pt idx="6718">23.3886731631498</cx:pt>
          <cx:pt idx="6719">23.3886731631498</cx:pt>
          <cx:pt idx="6720">23.266063863529499</cx:pt>
          <cx:pt idx="6721">23.036623277741452</cx:pt>
          <cx:pt idx="6722">23.036623277741452</cx:pt>
          <cx:pt idx="6723">23.036623277741452</cx:pt>
          <cx:pt idx="6724">23.036623277741452</cx:pt>
          <cx:pt idx="6725">23.036623277741452</cx:pt>
          <cx:pt idx="6726">23.036623277741452</cx:pt>
          <cx:pt idx="6727">23.036623277741452</cx:pt>
          <cx:pt idx="6728">23.036623277741452</cx:pt>
          <cx:pt idx="6729">23.036623277741452</cx:pt>
          <cx:pt idx="6730">23.036623277741452</cx:pt>
          <cx:pt idx="6731">23.036623277741452</cx:pt>
          <cx:pt idx="6732">23.036623277741452</cx:pt>
          <cx:pt idx="6733">23.036623277741452</cx:pt>
          <cx:pt idx="6734">23.036623277741452</cx:pt>
          <cx:pt idx="6735">23.018597856595999</cx:pt>
          <cx:pt idx="6736">23.018597856595999</cx:pt>
          <cx:pt idx="6737">23.018597856595999</cx:pt>
          <cx:pt idx="6738">23.018597856595999</cx:pt>
          <cx:pt idx="6739">23.018597856595999</cx:pt>
          <cx:pt idx="6740">23.018597856595999</cx:pt>
          <cx:pt idx="6741">23.018597856595999</cx:pt>
          <cx:pt idx="6742">23.018597856595999</cx:pt>
          <cx:pt idx="6743">23.018597856595999</cx:pt>
          <cx:pt idx="6744">23.018597856595999</cx:pt>
          <cx:pt idx="6745">23.018597856595999</cx:pt>
          <cx:pt idx="6746">23.018597856595999</cx:pt>
          <cx:pt idx="6747">23.018597856595999</cx:pt>
          <cx:pt idx="6748">23.018597856595999</cx:pt>
          <cx:pt idx="6749">23.018597856595999</cx:pt>
          <cx:pt idx="6750">23.018597856595999</cx:pt>
          <cx:pt idx="6751">23.018597856595999</cx:pt>
          <cx:pt idx="6752">23.018597856595999</cx:pt>
          <cx:pt idx="6753">23.018597856595999</cx:pt>
          <cx:pt idx="6754">23.018597856595999</cx:pt>
          <cx:pt idx="6755">22.941239329306637</cx:pt>
          <cx:pt idx="6756">22.922123298738349</cx:pt>
          <cx:pt idx="6757">22.922123298738349</cx:pt>
          <cx:pt idx="6758">22.922123298738349</cx:pt>
          <cx:pt idx="6759">22.922123298738349</cx:pt>
          <cx:pt idx="6760">22.922123298738349</cx:pt>
          <cx:pt idx="6761">22.922123298738349</cx:pt>
          <cx:pt idx="6762">22.713726020089901</cx:pt>
          <cx:pt idx="6763">22.6670991921001</cx:pt>
          <cx:pt idx="6764">22.6670991921001</cx:pt>
          <cx:pt idx="6765">22.6670991921001</cx:pt>
          <cx:pt idx="6766">22.6670991921001</cx:pt>
          <cx:pt idx="6767">22.6670991921001</cx:pt>
          <cx:pt idx="6768">22.6670991921001</cx:pt>
          <cx:pt idx="6769">22.6670991921001</cx:pt>
          <cx:pt idx="6770">22.6670991921001</cx:pt>
          <cx:pt idx="6771">22.6670991921001</cx:pt>
          <cx:pt idx="6772">22.6670991921001</cx:pt>
          <cx:pt idx="6773">22.6670991921001</cx:pt>
          <cx:pt idx="6774">22.6670991921001</cx:pt>
          <cx:pt idx="6775">22.6670991921001</cx:pt>
          <cx:pt idx="6776">22.6670991921001</cx:pt>
          <cx:pt idx="6777">22.269038312615201</cx:pt>
          <cx:pt idx="6778">22.269038312615201</cx:pt>
          <cx:pt idx="6779">22.269038312615201</cx:pt>
          <cx:pt idx="6780">22.269038312615201</cx:pt>
          <cx:pt idx="6781">22.269038312615201</cx:pt>
          <cx:pt idx="6782">22.269038312615201</cx:pt>
          <cx:pt idx="6783">22.269038312615201</cx:pt>
          <cx:pt idx="6784">22.269038312615201</cx:pt>
          <cx:pt idx="6785">22.269038312615201</cx:pt>
          <cx:pt idx="6786">22.269038312615201</cx:pt>
          <cx:pt idx="6787">22.269038312615201</cx:pt>
          <cx:pt idx="6788">22.269038312615201</cx:pt>
          <cx:pt idx="6789">22.269038312615201</cx:pt>
          <cx:pt idx="6790">22.269038312615201</cx:pt>
          <cx:pt idx="6791">22.269038312615201</cx:pt>
          <cx:pt idx="6792">21.823461695339464</cx:pt>
          <cx:pt idx="6793">21.823461695339464</cx:pt>
          <cx:pt idx="6794">21.651097144723749</cx:pt>
          <cx:pt idx="6795">21.614524658319276</cx:pt>
          <cx:pt idx="6796">21.614524658319276</cx:pt>
          <cx:pt idx="6797">21.6086349977613</cx:pt>
          <cx:pt idx="6798">21.6086349977613</cx:pt>
          <cx:pt idx="6799">21.6086349977613</cx:pt>
          <cx:pt idx="6800">21.6086349977613</cx:pt>
          <cx:pt idx="6801">21.6086349977613</cx:pt>
          <cx:pt idx="6802">21.6086349977613</cx:pt>
          <cx:pt idx="6803">21.6086349977613</cx:pt>
          <cx:pt idx="6804">21.6086349977613</cx:pt>
          <cx:pt idx="6805">21.6086349977613</cx:pt>
          <cx:pt idx="6806">21.6086349977613</cx:pt>
          <cx:pt idx="6807">21.6086349977613</cx:pt>
          <cx:pt idx="6808">21.6086349977613</cx:pt>
          <cx:pt idx="6809">21.6086349977613</cx:pt>
          <cx:pt idx="6810">21.6086349977613</cx:pt>
          <cx:pt idx="6811">21.6086349977613</cx:pt>
          <cx:pt idx="6812">21.6086349977613</cx:pt>
          <cx:pt idx="6813">21.581109773757198</cx:pt>
          <cx:pt idx="6814">21.581109773757198</cx:pt>
          <cx:pt idx="6815">21.581109773757198</cx:pt>
          <cx:pt idx="6816">21.581109773757198</cx:pt>
          <cx:pt idx="6817">21.581109773757198</cx:pt>
          <cx:pt idx="6818">21.581109773757198</cx:pt>
          <cx:pt idx="6819">21.581109773757198</cx:pt>
          <cx:pt idx="6820">21.581109773757198</cx:pt>
          <cx:pt idx="6821">21.581109773757198</cx:pt>
          <cx:pt idx="6822">21.581109773757198</cx:pt>
          <cx:pt idx="6823">21.581109773757198</cx:pt>
          <cx:pt idx="6824">21.581109773757198</cx:pt>
          <cx:pt idx="6825">21.581109773757198</cx:pt>
          <cx:pt idx="6826">21.581109773757198</cx:pt>
          <cx:pt idx="6827">21.581109773757198</cx:pt>
          <cx:pt idx="6828">21.581109773757198</cx:pt>
          <cx:pt idx="6829">21.581109773757198</cx:pt>
          <cx:pt idx="6830">21.581109773757198</cx:pt>
          <cx:pt idx="6831">21.581109773757198</cx:pt>
          <cx:pt idx="6832">21.581109773757198</cx:pt>
          <cx:pt idx="6833">21.581109773757198</cx:pt>
          <cx:pt idx="6834">21.581109773757198</cx:pt>
          <cx:pt idx="6835">21.581109773757198</cx:pt>
          <cx:pt idx="6836">21.581109773757198</cx:pt>
          <cx:pt idx="6837">21.581109773757198</cx:pt>
          <cx:pt idx="6838">21.581109773757198</cx:pt>
          <cx:pt idx="6839">21.581109773757198</cx:pt>
          <cx:pt idx="6840">21.581109773757198</cx:pt>
          <cx:pt idx="6841">21.581109773757198</cx:pt>
          <cx:pt idx="6842">21.581109773757198</cx:pt>
          <cx:pt idx="6843">21.581109773757198</cx:pt>
          <cx:pt idx="6844">21.581109773757198</cx:pt>
          <cx:pt idx="6845">21.581109773757198</cx:pt>
          <cx:pt idx="6846">21.581109773757198</cx:pt>
          <cx:pt idx="6847">21.581109773757198</cx:pt>
          <cx:pt idx="6848">21.581109773757198</cx:pt>
          <cx:pt idx="6849">21.581109773757198</cx:pt>
          <cx:pt idx="6850">21.581109773757198</cx:pt>
          <cx:pt idx="6851">21.581109773757198</cx:pt>
          <cx:pt idx="6852">21.159844177896002</cx:pt>
          <cx:pt idx="6853">20.999695358469467</cx:pt>
          <cx:pt idx="6854">20.9859137834428</cx:pt>
          <cx:pt idx="6855">20.9859137834428</cx:pt>
          <cx:pt idx="6856">20.9859137834428</cx:pt>
          <cx:pt idx="6857">20.9859137834428</cx:pt>
          <cx:pt idx="6858">20.9859137834428</cx:pt>
          <cx:pt idx="6859">20.9859137834428</cx:pt>
          <cx:pt idx="6860">20.9859137834428</cx:pt>
          <cx:pt idx="6861">20.9859137834428</cx:pt>
          <cx:pt idx="6862">20.9859137834428</cx:pt>
          <cx:pt idx="6863">20.9859137834428</cx:pt>
          <cx:pt idx="6864">20.9859137834428</cx:pt>
          <cx:pt idx="6865">20.9859137834428</cx:pt>
          <cx:pt idx="6866">20.9859137834428</cx:pt>
          <cx:pt idx="6867">20.9859137834428</cx:pt>
          <cx:pt idx="6868">20.9859137834428</cx:pt>
          <cx:pt idx="6869">20.9859137834428</cx:pt>
          <cx:pt idx="6870">20.9859137834428</cx:pt>
          <cx:pt idx="6871">20.9859137834428</cx:pt>
          <cx:pt idx="6872">20.9859137834428</cx:pt>
          <cx:pt idx="6873">20.9859137834428</cx:pt>
          <cx:pt idx="6874">20.9859137834428</cx:pt>
          <cx:pt idx="6875">20.9859137834428</cx:pt>
          <cx:pt idx="6876">20.919394880793668</cx:pt>
          <cx:pt idx="6877">20.7466126673785</cx:pt>
          <cx:pt idx="6878">20.7466126673785</cx:pt>
          <cx:pt idx="6879">20.736060864515867</cx:pt>
          <cx:pt idx="6880">20.736060864515867</cx:pt>
          <cx:pt idx="6881">20.736060864515867</cx:pt>
          <cx:pt idx="6882">20.708988150825601</cx:pt>
          <cx:pt idx="6883">20.708988150825601</cx:pt>
          <cx:pt idx="6884">20.708988150825601</cx:pt>
          <cx:pt idx="6885">20.708988150825601</cx:pt>
          <cx:pt idx="6886">20.708988150825601</cx:pt>
          <cx:pt idx="6887">20.708988150825601</cx:pt>
          <cx:pt idx="6888">20.708988150825601</cx:pt>
          <cx:pt idx="6889">20.708988150825601</cx:pt>
          <cx:pt idx="6890">20.708988150825601</cx:pt>
          <cx:pt idx="6891">20.708988150825601</cx:pt>
          <cx:pt idx="6892">20.708988150825601</cx:pt>
          <cx:pt idx="6893">20.708988150825601</cx:pt>
          <cx:pt idx="6894">20.708988150825601</cx:pt>
          <cx:pt idx="6895">20.708988150825601</cx:pt>
          <cx:pt idx="6896">20.708988150825601</cx:pt>
          <cx:pt idx="6897">20.708988150825601</cx:pt>
          <cx:pt idx="6898">20.708988150825601</cx:pt>
          <cx:pt idx="6899">20.708988150825601</cx:pt>
          <cx:pt idx="6900">20.708988150825601</cx:pt>
          <cx:pt idx="6901">20.708988150825601</cx:pt>
          <cx:pt idx="6902">20.68726120547025</cx:pt>
          <cx:pt idx="6903">20.68726120547025</cx:pt>
          <cx:pt idx="6904">20.68726120547025</cx:pt>
          <cx:pt idx="6905">20.68726120547025</cx:pt>
          <cx:pt idx="6906">20.68726120547025</cx:pt>
          <cx:pt idx="6907">20.68726120547025</cx:pt>
          <cx:pt idx="6908">20.68726120547025</cx:pt>
          <cx:pt idx="6909">20.68726120547025</cx:pt>
          <cx:pt idx="6910">20.68726120547025</cx:pt>
          <cx:pt idx="6911">20.68726120547025</cx:pt>
          <cx:pt idx="6912">20.68726120547025</cx:pt>
          <cx:pt idx="6913">20.68726120547025</cx:pt>
          <cx:pt idx="6914">20.68726120547025</cx:pt>
          <cx:pt idx="6915">20.68726120547025</cx:pt>
          <cx:pt idx="6916">20.68726120547025</cx:pt>
          <cx:pt idx="6917">20.68726120547025</cx:pt>
          <cx:pt idx="6918">20.68726120547025</cx:pt>
          <cx:pt idx="6919">20.68726120547025</cx:pt>
          <cx:pt idx="6920">20.617152433082701</cx:pt>
          <cx:pt idx="6921">20.573900277088224</cx:pt>
          <cx:pt idx="6922">20.573900277088224</cx:pt>
          <cx:pt idx="6923">20.573900277088224</cx:pt>
          <cx:pt idx="6924">20.573900277088224</cx:pt>
          <cx:pt idx="6925">20.532226103240149</cx:pt>
          <cx:pt idx="6926">20.532226103240149</cx:pt>
          <cx:pt idx="6927">20.532226103240149</cx:pt>
          <cx:pt idx="6928">20.532226103240149</cx:pt>
          <cx:pt idx="6929">20.532226103240149</cx:pt>
          <cx:pt idx="6930">20.532226103240149</cx:pt>
          <cx:pt idx="6931">20.390514291737635</cx:pt>
          <cx:pt idx="6932">20.390514291737635</cx:pt>
          <cx:pt idx="6933">20.352281447881573</cx:pt>
          <cx:pt idx="6934">20.077157131948901</cx:pt>
          <cx:pt idx="6935">20.077157131948901</cx:pt>
          <cx:pt idx="6936">20.077157131948901</cx:pt>
          <cx:pt idx="6937">20.077157131948901</cx:pt>
          <cx:pt idx="6938">20.077157131948901</cx:pt>
          <cx:pt idx="6939">20.077157131948901</cx:pt>
          <cx:pt idx="6940">20.077157131948901</cx:pt>
          <cx:pt idx="6941">20.077157131948901</cx:pt>
          <cx:pt idx="6942">20.077157131948901</cx:pt>
          <cx:pt idx="6943">20.077157131948901</cx:pt>
          <cx:pt idx="6944">20.077157131948901</cx:pt>
          <cx:pt idx="6945">20.077157131948901</cx:pt>
          <cx:pt idx="6946">20.077157131948901</cx:pt>
          <cx:pt idx="6947">20.077157131948901</cx:pt>
          <cx:pt idx="6948">20.077157131948901</cx:pt>
          <cx:pt idx="6949">20.077157131948901</cx:pt>
          <cx:pt idx="6950">20.077157131948901</cx:pt>
          <cx:pt idx="6951">20.077157131948901</cx:pt>
          <cx:pt idx="6952">20.077157131948901</cx:pt>
          <cx:pt idx="6953">20.077157131948901</cx:pt>
          <cx:pt idx="6954">20.077157131948901</cx:pt>
          <cx:pt idx="6955">20.050946458710101</cx:pt>
          <cx:pt idx="6956">20.050946458710101</cx:pt>
          <cx:pt idx="6957">19.981050328253449</cx:pt>
          <cx:pt idx="6958">19.899953403790565</cx:pt>
          <cx:pt idx="6959">19.899953403790565</cx:pt>
          <cx:pt idx="6960">19.899953403790565</cx:pt>
          <cx:pt idx="6961">19.899953403790565</cx:pt>
          <cx:pt idx="6962">19.899953403790565</cx:pt>
          <cx:pt idx="6963">19.899953403790565</cx:pt>
          <cx:pt idx="6964">19.899953403790565</cx:pt>
          <cx:pt idx="6965">19.899953403790565</cx:pt>
          <cx:pt idx="6966">19.899953403790565</cx:pt>
          <cx:pt idx="6967">19.899953403790565</cx:pt>
          <cx:pt idx="6968">19.899953403790565</cx:pt>
          <cx:pt idx="6969">19.899953403790565</cx:pt>
          <cx:pt idx="6970">19.899953403790565</cx:pt>
          <cx:pt idx="6971">19.899953403790565</cx:pt>
          <cx:pt idx="6972">19.899953403790565</cx:pt>
          <cx:pt idx="6973">19.899953403790565</cx:pt>
          <cx:pt idx="6974">19.899953403790565</cx:pt>
          <cx:pt idx="6975">19.899953403790565</cx:pt>
          <cx:pt idx="6976">19.899953403790565</cx:pt>
          <cx:pt idx="6977">19.882841748293533</cx:pt>
          <cx:pt idx="6978">19.855994384114751</cx:pt>
          <cx:pt idx="6979">19.855994384114751</cx:pt>
          <cx:pt idx="6980">19.855994384114751</cx:pt>
          <cx:pt idx="6981">19.855994384114751</cx:pt>
          <cx:pt idx="6982">19.855994384114751</cx:pt>
          <cx:pt idx="6983">19.855994384114751</cx:pt>
          <cx:pt idx="6984">19.855994384114751</cx:pt>
          <cx:pt idx="6985">19.855994384114751</cx:pt>
          <cx:pt idx="6986">19.855994384114751</cx:pt>
          <cx:pt idx="6987">19.855994384114751</cx:pt>
          <cx:pt idx="6988">19.855994384114751</cx:pt>
          <cx:pt idx="6989">19.855994384114751</cx:pt>
          <cx:pt idx="6990">19.855994384114751</cx:pt>
          <cx:pt idx="6991">19.855994384114751</cx:pt>
          <cx:pt idx="6992">19.855994384114751</cx:pt>
          <cx:pt idx="6993">19.855994384114751</cx:pt>
          <cx:pt idx="6994">19.855994384114751</cx:pt>
          <cx:pt idx="6995">19.855994384114751</cx:pt>
          <cx:pt idx="6996">19.855994384114751</cx:pt>
          <cx:pt idx="6997">19.855994384114751</cx:pt>
          <cx:pt idx="6998">19.855994384114751</cx:pt>
          <cx:pt idx="6999">19.855994384114751</cx:pt>
          <cx:pt idx="7000">19.855994384114751</cx:pt>
          <cx:pt idx="7001">19.855994384114751</cx:pt>
          <cx:pt idx="7002">19.855994384114751</cx:pt>
          <cx:pt idx="7003">19.855994384114751</cx:pt>
          <cx:pt idx="7004">19.855994384114751</cx:pt>
          <cx:pt idx="7005">19.855994384114751</cx:pt>
          <cx:pt idx="7006">19.855994384114751</cx:pt>
          <cx:pt idx="7007">19.855994384114751</cx:pt>
          <cx:pt idx="7008">19.855994384114751</cx:pt>
          <cx:pt idx="7009">19.855994384114751</cx:pt>
          <cx:pt idx="7010">19.855994384114751</cx:pt>
          <cx:pt idx="7011">19.855994384114751</cx:pt>
          <cx:pt idx="7012">19.855994384114751</cx:pt>
          <cx:pt idx="7013">19.855994384114751</cx:pt>
          <cx:pt idx="7014">19.829544969865019</cx:pt>
          <cx:pt idx="7015">19.7744351310076</cx:pt>
          <cx:pt idx="7016">19.7744351310076</cx:pt>
          <cx:pt idx="7017">19.7744351310076</cx:pt>
          <cx:pt idx="7018">19.7744351310076</cx:pt>
          <cx:pt idx="7019">19.7744351310076</cx:pt>
          <cx:pt idx="7020">19.7744351310076</cx:pt>
          <cx:pt idx="7021">19.7744351310076</cx:pt>
          <cx:pt idx="7022">19.7744351310076</cx:pt>
          <cx:pt idx="7023">19.7744351310076</cx:pt>
          <cx:pt idx="7024">19.7744351310076</cx:pt>
          <cx:pt idx="7025">19.6873222828821</cx:pt>
          <cx:pt idx="7026">19.566277617279201</cx:pt>
          <cx:pt idx="7027">19.566277617279201</cx:pt>
          <cx:pt idx="7028">19.566277617279201</cx:pt>
          <cx:pt idx="7029">19.566277617279201</cx:pt>
          <cx:pt idx="7030">19.566277617279201</cx:pt>
          <cx:pt idx="7031">19.566277617279201</cx:pt>
          <cx:pt idx="7032">19.566277617279201</cx:pt>
          <cx:pt idx="7033">19.566277617279201</cx:pt>
          <cx:pt idx="7034">19.566277617279201</cx:pt>
          <cx:pt idx="7035">19.566277617279201</cx:pt>
          <cx:pt idx="7036">19.566277617279201</cx:pt>
          <cx:pt idx="7037">19.566277617279201</cx:pt>
          <cx:pt idx="7038">19.566277617279201</cx:pt>
          <cx:pt idx="7039">19.566277617279201</cx:pt>
          <cx:pt idx="7040">19.566277617279201</cx:pt>
          <cx:pt idx="7041">19.566277617279201</cx:pt>
          <cx:pt idx="7042">19.566277617279201</cx:pt>
          <cx:pt idx="7043">19.566277617279201</cx:pt>
          <cx:pt idx="7044">19.566277617279201</cx:pt>
          <cx:pt idx="7045">19.566277617279201</cx:pt>
          <cx:pt idx="7046">19.566277617279201</cx:pt>
          <cx:pt idx="7047">19.566277617279201</cx:pt>
          <cx:pt idx="7048">19.566277617279201</cx:pt>
          <cx:pt idx="7049">19.371099805860101</cx:pt>
          <cx:pt idx="7050">19.371099805860101</cx:pt>
          <cx:pt idx="7051">19.371099805860101</cx:pt>
          <cx:pt idx="7052">19.371099805860101</cx:pt>
          <cx:pt idx="7053">19.371099805860101</cx:pt>
          <cx:pt idx="7054">19.371099805860101</cx:pt>
          <cx:pt idx="7055">19.371099805860101</cx:pt>
          <cx:pt idx="7056">19.371099805860101</cx:pt>
          <cx:pt idx="7057">19.371099805860101</cx:pt>
          <cx:pt idx="7058">19.371099805860101</cx:pt>
          <cx:pt idx="7059">19.371099805860101</cx:pt>
          <cx:pt idx="7060">19.371099805860101</cx:pt>
          <cx:pt idx="7061">19.371099805860101</cx:pt>
          <cx:pt idx="7062">19.371099805860101</cx:pt>
          <cx:pt idx="7063">19.371099805860101</cx:pt>
          <cx:pt idx="7064">19.371099805860101</cx:pt>
          <cx:pt idx="7065">19.126031071613198</cx:pt>
          <cx:pt idx="7066">19.126031071613198</cx:pt>
          <cx:pt idx="7067">19.126031071613198</cx:pt>
          <cx:pt idx="7068">19.126031071613198</cx:pt>
          <cx:pt idx="7069">19.126031071613198</cx:pt>
          <cx:pt idx="7070">19.126031071613198</cx:pt>
          <cx:pt idx="7071">19.126031071613198</cx:pt>
          <cx:pt idx="7072">19.126031071613198</cx:pt>
          <cx:pt idx="7073">19.126031071613198</cx:pt>
          <cx:pt idx="7074">19.126031071613198</cx:pt>
          <cx:pt idx="7075">19.126031071613198</cx:pt>
          <cx:pt idx="7076">18.8096387242344</cx:pt>
          <cx:pt idx="7077">18.8096387242344</cx:pt>
          <cx:pt idx="7078">18.8096387242344</cx:pt>
          <cx:pt idx="7079">18.8096387242344</cx:pt>
          <cx:pt idx="7080">18.8096387242344</cx:pt>
          <cx:pt idx="7081">18.8096387242344</cx:pt>
          <cx:pt idx="7082">18.8096387242344</cx:pt>
          <cx:pt idx="7083">18.8096387242344</cx:pt>
          <cx:pt idx="7084">18.8096387242344</cx:pt>
          <cx:pt idx="7085">18.8096387242344</cx:pt>
          <cx:pt idx="7086">18.8096387242344</cx:pt>
          <cx:pt idx="7087">18.8096387242344</cx:pt>
          <cx:pt idx="7088">18.8096387242344</cx:pt>
          <cx:pt idx="7089">18.626335737162002</cx:pt>
          <cx:pt idx="7090">18.626335737162002</cx:pt>
          <cx:pt idx="7091">18.626335737162002</cx:pt>
          <cx:pt idx="7092">18.626335737162002</cx:pt>
          <cx:pt idx="7093">18.626335737162002</cx:pt>
          <cx:pt idx="7094">18.626335737162002</cx:pt>
          <cx:pt idx="7095">18.626335737162002</cx:pt>
          <cx:pt idx="7096">18.626335737162002</cx:pt>
          <cx:pt idx="7097">18.626335737162002</cx:pt>
          <cx:pt idx="7098">18.626335737162002</cx:pt>
          <cx:pt idx="7099">18.626335737162002</cx:pt>
          <cx:pt idx="7100">18.626335737162002</cx:pt>
          <cx:pt idx="7101">18.626335737162002</cx:pt>
          <cx:pt idx="7102">18.626335737162002</cx:pt>
          <cx:pt idx="7103">18.626335737162002</cx:pt>
          <cx:pt idx="7104">18.626335737162002</cx:pt>
          <cx:pt idx="7105">18.626335737162002</cx:pt>
          <cx:pt idx="7106">18.626335737162002</cx:pt>
          <cx:pt idx="7107">18.626335737162002</cx:pt>
          <cx:pt idx="7108">18.626335737162002</cx:pt>
          <cx:pt idx="7109">18.626335737162002</cx:pt>
          <cx:pt idx="7110">18.626335737162002</cx:pt>
          <cx:pt idx="7111">18.588600103836502</cx:pt>
          <cx:pt idx="7112">18.502113247506326</cx:pt>
          <cx:pt idx="7113">18.502113247506326</cx:pt>
          <cx:pt idx="7114">18.502113247506326</cx:pt>
          <cx:pt idx="7115">18.502113247506326</cx:pt>
          <cx:pt idx="7116">18.502113247506326</cx:pt>
          <cx:pt idx="7117">18.32246405220565</cx:pt>
          <cx:pt idx="7118">18.32246405220565</cx:pt>
          <cx:pt idx="7119">18.32246405220565</cx:pt>
          <cx:pt idx="7120">18.32246405220565</cx:pt>
          <cx:pt idx="7121">18.32246405220565</cx:pt>
          <cx:pt idx="7122">18.32246405220565</cx:pt>
          <cx:pt idx="7123">18.32246405220565</cx:pt>
          <cx:pt idx="7124">18.32246405220565</cx:pt>
          <cx:pt idx="7125">18.32246405220565</cx:pt>
          <cx:pt idx="7126">18.32246405220565</cx:pt>
          <cx:pt idx="7127">18.32246405220565</cx:pt>
          <cx:pt idx="7128">18.32246405220565</cx:pt>
          <cx:pt idx="7129">18.32246405220565</cx:pt>
          <cx:pt idx="7130">18.32246405220565</cx:pt>
          <cx:pt idx="7131">18.32246405220565</cx:pt>
          <cx:pt idx="7132">18.32246405220565</cx:pt>
          <cx:pt idx="7133">18.32246405220565</cx:pt>
          <cx:pt idx="7134">18.32246405220565</cx:pt>
          <cx:pt idx="7135">18.32246405220565</cx:pt>
          <cx:pt idx="7136">18.32246405220565</cx:pt>
          <cx:pt idx="7137">18.32246405220565</cx:pt>
          <cx:pt idx="7138">18.32246405220565</cx:pt>
          <cx:pt idx="7139">18.32246405220565</cx:pt>
          <cx:pt idx="7140">18.254963253924569</cx:pt>
          <cx:pt idx="7141">18.254963253924569</cx:pt>
          <cx:pt idx="7142">18.254963253924569</cx:pt>
          <cx:pt idx="7143">18.254963253924569</cx:pt>
          <cx:pt idx="7144">18.254963253924569</cx:pt>
          <cx:pt idx="7145">18.254963253924569</cx:pt>
          <cx:pt idx="7146">18.254963253924569</cx:pt>
          <cx:pt idx="7147">18.254963253924569</cx:pt>
          <cx:pt idx="7148">18.254963253924569</cx:pt>
          <cx:pt idx="7149">18.254963253924569</cx:pt>
          <cx:pt idx="7150">18.254963253924569</cx:pt>
          <cx:pt idx="7151">18.254963253924569</cx:pt>
          <cx:pt idx="7152">18.254963253924569</cx:pt>
          <cx:pt idx="7153">18.124045253662398</cx:pt>
          <cx:pt idx="7154">18.124045253662398</cx:pt>
          <cx:pt idx="7155">18.124045253662398</cx:pt>
          <cx:pt idx="7156">18.124045253662398</cx:pt>
          <cx:pt idx="7157">18.124045253662398</cx:pt>
          <cx:pt idx="7158">18.124045253662398</cx:pt>
          <cx:pt idx="7159">18.124045253662398</cx:pt>
          <cx:pt idx="7160">18.124045253662398</cx:pt>
          <cx:pt idx="7161">18.124045253662398</cx:pt>
          <cx:pt idx="7162">18.124045253662398</cx:pt>
          <cx:pt idx="7163">18.124045253662398</cx:pt>
          <cx:pt idx="7164">18.124045253662398</cx:pt>
          <cx:pt idx="7165">18.124045253662398</cx:pt>
          <cx:pt idx="7166">18.124045253662398</cx:pt>
          <cx:pt idx="7167">18.124045253662398</cx:pt>
          <cx:pt idx="7168">18.124045253662398</cx:pt>
          <cx:pt idx="7169">18.124045253662398</cx:pt>
          <cx:pt idx="7170">18.110396859942174</cx:pt>
          <cx:pt idx="7171">18.002143786212251</cx:pt>
          <cx:pt idx="7172">17.679946178118861</cx:pt>
          <cx:pt idx="7173">17.628067814417143</cx:pt>
          <cx:pt idx="7174">17.582988545813059</cx:pt>
          <cx:pt idx="7175">17.546585715964834</cx:pt>
          <cx:pt idx="7176">17.546585715964834</cx:pt>
          <cx:pt idx="7177">17.394298409772048</cx:pt>
          <cx:pt idx="7178">17.394298409772048</cx:pt>
          <cx:pt idx="7179">17.394298409772048</cx:pt>
          <cx:pt idx="7180">17.394298409772048</cx:pt>
          <cx:pt idx="7181">17.394298409772048</cx:pt>
          <cx:pt idx="7182">17.394298409772048</cx:pt>
          <cx:pt idx="7183">17.394298409772048</cx:pt>
          <cx:pt idx="7184">17.394298409772048</cx:pt>
          <cx:pt idx="7185">17.394298409772048</cx:pt>
          <cx:pt idx="7186">17.394298409772048</cx:pt>
          <cx:pt idx="7187">17.394298409772048</cx:pt>
          <cx:pt idx="7188">17.394298409772048</cx:pt>
          <cx:pt idx="7189">17.394298409772048</cx:pt>
          <cx:pt idx="7190">17.394298409772048</cx:pt>
          <cx:pt idx="7191">17.394298409772048</cx:pt>
          <cx:pt idx="7192">17.394298409772048</cx:pt>
          <cx:pt idx="7193">17.394298409772048</cx:pt>
          <cx:pt idx="7194">17.394298409772048</cx:pt>
          <cx:pt idx="7195">17.389620797618402</cx:pt>
          <cx:pt idx="7196">17.309290075707466</cx:pt>
          <cx:pt idx="7197">17.309290075707466</cx:pt>
          <cx:pt idx="7198">17.309290075707466</cx:pt>
          <cx:pt idx="7199">17.309290075707466</cx:pt>
          <cx:pt idx="7200">17.309290075707466</cx:pt>
          <cx:pt idx="7201">17.309290075707466</cx:pt>
          <cx:pt idx="7202">17.309290075707466</cx:pt>
          <cx:pt idx="7203">17.309290075707466</cx:pt>
          <cx:pt idx="7204">17.309290075707466</cx:pt>
          <cx:pt idx="7205">17.309290075707466</cx:pt>
          <cx:pt idx="7206">17.309290075707466</cx:pt>
          <cx:pt idx="7207">17.309290075707466</cx:pt>
          <cx:pt idx="7208">17.309290075707466</cx:pt>
          <cx:pt idx="7209">17.309290075707466</cx:pt>
          <cx:pt idx="7210">17.3002672738758</cx:pt>
          <cx:pt idx="7211">17.091246382971626</cx:pt>
          <cx:pt idx="7212">17.091246382971626</cx:pt>
          <cx:pt idx="7213">16.6616168488173</cx:pt>
          <cx:pt idx="7214">16.6616168488173</cx:pt>
          <cx:pt idx="7215">16.6616168488173</cx:pt>
          <cx:pt idx="7216">16.6616168488173</cx:pt>
          <cx:pt idx="7217">16.6616168488173</cx:pt>
          <cx:pt idx="7218">16.6616168488173</cx:pt>
          <cx:pt idx="7219">16.6616168488173</cx:pt>
          <cx:pt idx="7220">16.6616168488173</cx:pt>
          <cx:pt idx="7221">16.6616168488173</cx:pt>
          <cx:pt idx="7222">16.6616168488173</cx:pt>
          <cx:pt idx="7223">16.6616168488173</cx:pt>
          <cx:pt idx="7224">16.6616168488173</cx:pt>
          <cx:pt idx="7225">16.6616168488173</cx:pt>
          <cx:pt idx="7226">16.6616168488173</cx:pt>
          <cx:pt idx="7227">16.6616168488173</cx:pt>
          <cx:pt idx="7228">16.6616168488173</cx:pt>
          <cx:pt idx="7229">16.6616168488173</cx:pt>
          <cx:pt idx="7230">16.6616168488173</cx:pt>
          <cx:pt idx="7231">16.6616168488173</cx:pt>
          <cx:pt idx="7232">16.6616168488173</cx:pt>
          <cx:pt idx="7233">16.6616168488173</cx:pt>
          <cx:pt idx="7234">16.6616168488173</cx:pt>
          <cx:pt idx="7235">16.6616168488173</cx:pt>
          <cx:pt idx="7236">16.6616168488173</cx:pt>
          <cx:pt idx="7237">16.6616168488173</cx:pt>
          <cx:pt idx="7238">16.579787031922852</cx:pt>
          <cx:pt idx="7239">15.700008741420801</cx:pt>
          <cx:pt idx="7240">15.700008741420801</cx:pt>
          <cx:pt idx="7241">15.388330066848766</cx:pt>
          <cx:pt idx="7242">15.381476615623868</cx:pt>
          <cx:pt idx="7243">14.777781279337667</cx:pt>
          <cx:pt idx="7244">14.269551007638933</cx:pt>
          <cx:pt idx="7245">13.822053674898701</cx:pt>
          <cx:pt idx="7246">13.822053674898701</cx:pt>
          <cx:pt idx="7247">13.747597465135266</cx:pt>
          <cx:pt idx="7248">13.747597465135266</cx:pt>
          <cx:pt idx="7249">13.480602980863299</cx:pt>
          <cx:pt idx="7250">13.08217877976295</cx:pt>
          <cx:pt idx="7251">12.336742794943749</cx:pt>
          <cx:pt idx="7252">12.336742794943749</cx:pt>
          <cx:pt idx="7253">12.336742794943749</cx:pt>
          <cx:pt idx="7254">11.7892875524098</cx:pt>
          <cx:pt idx="7255">11.7892875524098</cx:pt>
          <cx:pt idx="7256">11.7892875524098</cx:pt>
          <cx:pt idx="7257">11.7892875524098</cx:pt>
          <cx:pt idx="7258">11.7892875524098</cx:pt>
          <cx:pt idx="7259">11.7892875524098</cx:pt>
          <cx:pt idx="7260">11.7892875524098</cx:pt>
          <cx:pt idx="7261">11.7892875524098</cx:pt>
          <cx:pt idx="7262">11.7892875524098</cx:pt>
          <cx:pt idx="7263">11.7892875524098</cx:pt>
          <cx:pt idx="7264">11.7892875524098</cx:pt>
          <cx:pt idx="7265">11.7892875524098</cx:pt>
          <cx:pt idx="7266">11.7892875524098</cx:pt>
          <cx:pt idx="7267">11.7892875524098</cx:pt>
          <cx:pt idx="7268">11.7892875524098</cx:pt>
          <cx:pt idx="7269">11.7892875524098</cx:pt>
          <cx:pt idx="7270">11.7892875524098</cx:pt>
          <cx:pt idx="7271">11.7892875524098</cx:pt>
          <cx:pt idx="7272">11.7892875524098</cx:pt>
          <cx:pt idx="7273">11.7892875524098</cx:pt>
          <cx:pt idx="7274">11.7892875524098</cx:pt>
          <cx:pt idx="7275">11.7892875524098</cx:pt>
          <cx:pt idx="7276">11.7892875524098</cx:pt>
          <cx:pt idx="7277">11.7892875524098</cx:pt>
          <cx:pt idx="7278">11.7892875524098</cx:pt>
          <cx:pt idx="7279">11.7892875524098</cx:pt>
          <cx:pt idx="7280">11.7892875524098</cx:pt>
          <cx:pt idx="7281">11.5629159951378</cx:pt>
          <cx:pt idx="7282">11.5629159951378</cx:pt>
          <cx:pt idx="7283">11.5629159951378</cx:pt>
          <cx:pt idx="7284">11.5629159951378</cx:pt>
          <cx:pt idx="7285">11.5629159951378</cx:pt>
          <cx:pt idx="7286">11.5629159951378</cx:pt>
          <cx:pt idx="7287">11.5629159951378</cx:pt>
          <cx:pt idx="7288">11.5629159951378</cx:pt>
          <cx:pt idx="7289">11.5629159951378</cx:pt>
          <cx:pt idx="7290">11.5629159951378</cx:pt>
          <cx:pt idx="7291">11.5629159951378</cx:pt>
          <cx:pt idx="7292">11.5629159951378</cx:pt>
          <cx:pt idx="7293">11.5629159951378</cx:pt>
          <cx:pt idx="7294">11.5629159951378</cx:pt>
          <cx:pt idx="7295">11.5629159951378</cx:pt>
          <cx:pt idx="7296">11.5629159951378</cx:pt>
          <cx:pt idx="7297">11.5629159951378</cx:pt>
          <cx:pt idx="7298">11.5629159951378</cx:pt>
          <cx:pt idx="7299">11.5629159951378</cx:pt>
          <cx:pt idx="7300">11.5629159951378</cx:pt>
          <cx:pt idx="7301">11.5629159951378</cx:pt>
          <cx:pt idx="7302">11.5629159951378</cx:pt>
          <cx:pt idx="7303">11.5629159951378</cx:pt>
          <cx:pt idx="7304">10.831181736126601</cx:pt>
          <cx:pt idx="7305">9.359357119311067</cx:pt>
          <cx:pt idx="7306">9.359357119311067</cx:pt>
          <cx:pt idx="7307">9.359357119311067</cx:pt>
          <cx:pt idx="7308">9.359357119311067</cx:pt>
          <cx:pt idx="7309">9.359357119311067</cx:pt>
          <cx:pt idx="7310">9.359357119311067</cx:pt>
          <cx:pt idx="7311">9.359357119311067</cx:pt>
          <cx:pt idx="7312">9.359357119311067</cx:pt>
          <cx:pt idx="7313">0</cx:pt>
          <cx:pt idx="7314">0</cx:pt>
          <cx:pt idx="7315">0</cx:pt>
          <cx:pt idx="7316">0</cx:pt>
          <cx:pt idx="7317">0</cx:pt>
          <cx:pt idx="7318">0</cx:pt>
          <cx:pt idx="7319">0</cx:pt>
          <cx:pt idx="7320">0</cx:pt>
          <cx:pt idx="7321">0</cx:pt>
          <cx:pt idx="7322">0</cx:pt>
          <cx:pt idx="7323">0</cx:pt>
          <cx:pt idx="7324">0</cx:pt>
          <cx:pt idx="7325">0</cx:pt>
          <cx:pt idx="7326">0</cx:pt>
          <cx:pt idx="7327">0</cx:pt>
          <cx:pt idx="7328">0</cx:pt>
          <cx:pt idx="7329">0</cx:pt>
          <cx:pt idx="7330">0</cx:pt>
          <cx:pt idx="7331">0</cx:pt>
          <cx:pt idx="7332">0</cx:pt>
          <cx:pt idx="7333">0</cx:pt>
          <cx:pt idx="7334">0</cx:pt>
          <cx:pt idx="7335">0</cx:pt>
          <cx:pt idx="7336">0</cx:pt>
          <cx:pt idx="7337">0</cx:pt>
          <cx:pt idx="7338">0</cx:pt>
          <cx:pt idx="7339">0</cx:pt>
          <cx:pt idx="7340">0</cx:pt>
          <cx:pt idx="7341">0</cx:pt>
          <cx:pt idx="7342">0</cx:pt>
          <cx:pt idx="7343">0</cx:pt>
          <cx:pt idx="7344">0</cx:pt>
          <cx:pt idx="7345">0</cx:pt>
          <cx:pt idx="7346">0</cx:pt>
          <cx:pt idx="7347">0</cx:pt>
          <cx:pt idx="7348">0</cx:pt>
          <cx:pt idx="7349">0</cx:pt>
          <cx:pt idx="7350">0</cx:pt>
          <cx:pt idx="7351">0</cx:pt>
          <cx:pt idx="7352">0</cx:pt>
          <cx:pt idx="7353">0</cx:pt>
          <cx:pt idx="7354">0</cx:pt>
          <cx:pt idx="7355">0</cx:pt>
          <cx:pt idx="7356">0</cx:pt>
          <cx:pt idx="7357">0</cx:pt>
          <cx:pt idx="7358">0</cx:pt>
          <cx:pt idx="7359">0</cx:pt>
          <cx:pt idx="7360">0</cx:pt>
          <cx:pt idx="7361">0</cx:pt>
          <cx:pt idx="7362">0</cx:pt>
          <cx:pt idx="7363">0</cx:pt>
          <cx:pt idx="7364">0</cx:pt>
          <cx:pt idx="7365">0</cx:pt>
          <cx:pt idx="7366">0</cx:pt>
          <cx:pt idx="7367">0</cx:pt>
          <cx:pt idx="7368">0</cx:pt>
          <cx:pt idx="7369">0</cx:pt>
          <cx:pt idx="7370">0</cx:pt>
          <cx:pt idx="7371">0</cx:pt>
          <cx:pt idx="7372">0</cx:pt>
          <cx:pt idx="7373">0</cx:pt>
          <cx:pt idx="7374">0</cx:pt>
          <cx:pt idx="7375">0</cx:pt>
          <cx:pt idx="7376">0</cx:pt>
          <cx:pt idx="7377">0</cx:pt>
          <cx:pt idx="7378">0</cx:pt>
          <cx:pt idx="7379">0</cx:pt>
          <cx:pt idx="7380">0</cx:pt>
          <cx:pt idx="7381">0</cx:pt>
          <cx:pt idx="7382">0</cx:pt>
          <cx:pt idx="7383">0</cx:pt>
          <cx:pt idx="7384">0</cx:pt>
          <cx:pt idx="7385">0</cx:pt>
          <cx:pt idx="7386">0</cx:pt>
          <cx:pt idx="7387">0</cx:pt>
          <cx:pt idx="7388">0</cx:pt>
          <cx:pt idx="7389">0</cx:pt>
          <cx:pt idx="7390">0</cx:pt>
          <cx:pt idx="7391">0</cx:pt>
          <cx:pt idx="7392">0</cx:pt>
          <cx:pt idx="7393">0</cx:pt>
          <cx:pt idx="7394">0</cx:pt>
          <cx:pt idx="7395">0</cx:pt>
          <cx:pt idx="7396">0</cx:pt>
          <cx:pt idx="7397">0</cx:pt>
          <cx:pt idx="7398">0</cx:pt>
          <cx:pt idx="7399">0</cx:pt>
          <cx:pt idx="7400">0</cx:pt>
          <cx:pt idx="7401">0</cx:pt>
          <cx:pt idx="7402">0</cx:pt>
          <cx:pt idx="7403">0</cx:pt>
          <cx:pt idx="7404">0</cx:pt>
          <cx:pt idx="7405">0</cx:pt>
          <cx:pt idx="7406">0</cx:pt>
          <cx:pt idx="7407">0</cx:pt>
          <cx:pt idx="7408">0</cx:pt>
          <cx:pt idx="7409">0</cx:pt>
          <cx:pt idx="7410">0</cx:pt>
          <cx:pt idx="7411">0</cx:pt>
          <cx:pt idx="7412">0</cx:pt>
          <cx:pt idx="7413">0</cx:pt>
          <cx:pt idx="7414">0</cx:pt>
          <cx:pt idx="7415">0</cx:pt>
          <cx:pt idx="7416">0</cx:pt>
          <cx:pt idx="7417">0</cx:pt>
          <cx:pt idx="7418">0</cx:pt>
          <cx:pt idx="7419">0</cx:pt>
          <cx:pt idx="7420">0</cx:pt>
          <cx:pt idx="7421">0</cx:pt>
          <cx:pt idx="7422">0</cx:pt>
          <cx:pt idx="7423">0</cx:pt>
          <cx:pt idx="7424">0</cx:pt>
          <cx:pt idx="7425">0</cx:pt>
        </cx:lvl>
      </cx:numDim>
    </cx:data>
  </cx:chartData>
  <cx:chart>
    <cx:title pos="t" align="ctr" overlay="0">
      <cx:tx>
        <cx:txData>
          <cx:v>REPARTITION DES TRAJETS EN FONCTION DE LA DISTANCE MOYENNE ENTRE CHAQUE ARRÊT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200">
              <a:latin typeface="Segoe UI Emoji" panose="020B0502040204020203" pitchFamily="34" charset="0"/>
              <a:ea typeface="Segoe UI Emoji" panose="020B0502040204020203" pitchFamily="34" charset="0"/>
              <a:cs typeface="Segoe UI Emoji" panose="020B0502040204020203" pitchFamily="34" charset="0"/>
            </a:defRPr>
          </a:pPr>
          <a:r>
            <a:rPr lang="en-US" sz="1200" b="0" i="0" u="none" strike="noStrike" baseline="0">
              <a:solidFill>
                <a:sysClr val="windowText" lastClr="000000">
                  <a:lumMod val="65000"/>
                  <a:lumOff val="35000"/>
                </a:sysClr>
              </a:solidFill>
              <a:latin typeface="Segoe UI Emoji" panose="020B0502040204020203" pitchFamily="34" charset="0"/>
              <a:ea typeface="Segoe UI Emoji" panose="020B0502040204020203" pitchFamily="34" charset="0"/>
            </a:rPr>
            <a:t>REPARTITION DES TRAJETS EN FONCTION DE LA DISTANCE MOYENNE ENTRE CHAQUE ARRÊT</a:t>
          </a:r>
        </a:p>
      </cx:txPr>
    </cx:title>
    <cx:plotArea>
      <cx:plotAreaRegion>
        <cx:series layoutId="clusteredColumn" uniqueId="{383859D5-731A-42C4-8212-E1F65B7C8961}">
          <cx:tx>
            <cx:txData>
              <cx:f>analyse!$C$1</cx:f>
              <cx:v>nb_km/stops</cx:v>
            </cx:txData>
          </cx:tx>
          <cx:spPr>
            <a:solidFill>
              <a:srgbClr val="5B7E96"/>
            </a:solidFill>
            <a:ln>
              <a:solidFill>
                <a:srgbClr val="FEFFFF"/>
              </a:solidFill>
            </a:ln>
          </cx:spPr>
          <cx:dataPt idx="4">
            <cx:spPr>
              <a:solidFill>
                <a:srgbClr val="FAA082"/>
              </a:solidFill>
              <a:ln>
                <a:solidFill>
                  <a:srgbClr val="FEFFFF"/>
                </a:solidFill>
              </a:ln>
            </cx:spPr>
          </cx:dataPt>
          <cx:dataPt idx="5">
            <cx:spPr>
              <a:solidFill>
                <a:srgbClr val="FAA082"/>
              </a:solidFill>
              <a:ln>
                <a:solidFill>
                  <a:srgbClr val="FEFFFF"/>
                </a:solidFill>
              </a:ln>
            </cx:spPr>
          </cx:dataPt>
          <cx:dataPt idx="6">
            <cx:spPr>
              <a:solidFill>
                <a:srgbClr val="FAA082"/>
              </a:solidFill>
              <a:ln>
                <a:solidFill>
                  <a:srgbClr val="FEFFFF"/>
                </a:solidFill>
              </a:ln>
            </cx:spPr>
          </cx:dataPt>
          <cx:dataPt idx="7">
            <cx:spPr>
              <a:solidFill>
                <a:srgbClr val="FAA082"/>
              </a:solidFill>
              <a:ln>
                <a:solidFill>
                  <a:srgbClr val="FEFFFF"/>
                </a:solidFill>
              </a:ln>
            </cx:spPr>
          </cx:dataPt>
          <cx:dataPt idx="8">
            <cx:spPr>
              <a:solidFill>
                <a:srgbClr val="FAA082"/>
              </a:solidFill>
              <a:ln>
                <a:solidFill>
                  <a:srgbClr val="FEFFFF"/>
                </a:solidFill>
              </a:ln>
            </cx:spPr>
          </cx:dataPt>
          <cx:dataPt idx="9">
            <cx:spPr>
              <a:solidFill>
                <a:srgbClr val="FAA082"/>
              </a:solidFill>
              <a:ln>
                <a:solidFill>
                  <a:srgbClr val="FEFFFF"/>
                </a:solidFill>
              </a:ln>
            </cx:spPr>
          </cx:dataPt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>
                    <a:latin typeface="Segoe UI Emoji" panose="020B0502040204020203" pitchFamily="34" charset="0"/>
                    <a:ea typeface="Segoe UI Emoji" panose="020B0502040204020203" pitchFamily="34" charset="0"/>
                    <a:cs typeface="Segoe UI Emoji" panose="020B0502040204020203" pitchFamily="34" charset="0"/>
                  </a:defRPr>
                </a:pPr>
                <a:endParaRPr lang="en-US" sz="900" b="0" i="0" u="none" strike="noStrike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Segoe UI Emoji" panose="020B0502040204020203" pitchFamily="34" charset="0"/>
                  <a:ea typeface="Segoe UI Emoji" panose="020B0502040204020203" pitchFamily="34" charset="0"/>
                </a:endParaRPr>
              </a:p>
            </cx:txPr>
            <cx:visibility seriesName="0" categoryName="0" value="1"/>
          </cx:dataLabels>
          <cx:dataId val="0"/>
          <cx:layoutPr>
            <cx:binning intervalClosed="r">
              <cx:binSize val="50"/>
            </cx:binning>
          </cx:layoutPr>
        </cx:series>
      </cx:plotAreaRegion>
      <cx:axis id="0">
        <cx:catScaling gapWidth="0"/>
        <cx:title>
          <cx:tx>
            <cx:txData>
              <cx:v>Tranche de km/arrêt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sz="1100">
                  <a:latin typeface="Segoe UI Emoji" panose="020B0502040204020203" pitchFamily="34" charset="0"/>
                  <a:ea typeface="Segoe UI Emoji" panose="020B0502040204020203" pitchFamily="34" charset="0"/>
                  <a:cs typeface="Segoe UI Emoji" panose="020B0502040204020203" pitchFamily="34" charset="0"/>
                </a:defRPr>
              </a:pPr>
              <a:r>
                <a:rPr lang="en-US" sz="1100" b="0" i="0" u="none" strike="noStrike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Segoe UI Emoji" panose="020B0502040204020203" pitchFamily="34" charset="0"/>
                  <a:ea typeface="Segoe UI Emoji" panose="020B0502040204020203" pitchFamily="34" charset="0"/>
                </a:rPr>
                <a:t>Tranche de km/arrêt</a:t>
              </a:r>
            </a:p>
          </cx:txPr>
        </cx:title>
        <cx:tickLabels/>
        <cx:numFmt formatCode="# ##0" sourceLinked="0"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>
                <a:latin typeface="Segoe UI Emoji" panose="020B0502040204020203" pitchFamily="34" charset="0"/>
                <a:ea typeface="Segoe UI Emoji" panose="020B0502040204020203" pitchFamily="34" charset="0"/>
                <a:cs typeface="Segoe UI Emoji" panose="020B0502040204020203" pitchFamily="34" charset="0"/>
              </a:defRPr>
            </a:pPr>
            <a:endParaRPr lang="en-US" sz="900" b="0" i="0" u="none" strike="noStrike" baseline="0">
              <a:solidFill>
                <a:srgbClr val="000000">
                  <a:lumMod val="65000"/>
                  <a:lumOff val="35000"/>
                </a:srgbClr>
              </a:solidFill>
              <a:latin typeface="Segoe UI Emoji" panose="020B0502040204020203" pitchFamily="34" charset="0"/>
              <a:ea typeface="Segoe UI Emoji" panose="020B0502040204020203" pitchFamily="34" charset="0"/>
            </a:endParaRPr>
          </a:p>
        </cx:txPr>
      </cx:axis>
      <cx:axis id="1" hidden="1">
        <cx:valScaling/>
        <cx:title>
          <cx:tx>
            <cx:txData>
              <cx:v>Nombre de trajets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sz="1200"/>
              </a:pPr>
              <a:r>
                <a:rPr lang="en-US" sz="1200" b="0" i="0" u="none" strike="noStrike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Calibri" panose="020F0502020204030204"/>
                </a:rPr>
                <a:t>Nombre de trajets</a:t>
              </a:r>
            </a:p>
          </cx:txPr>
        </cx:title>
        <cx:tickLabels/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raject!$D$10:$D$14</cx:f>
        <cx:lvl ptCount="5">
          <cx:pt idx="0">Total émission initial</cx:pt>
          <cx:pt idx="1">Optimisation des itinéraires</cx:pt>
          <cx:pt idx="2">Optimisation des trajets</cx:pt>
          <cx:pt idx="3">Augmentation du délai</cx:pt>
          <cx:pt idx="4">Reste emission totale</cx:pt>
        </cx:lvl>
      </cx:strDim>
      <cx:numDim type="val">
        <cx:f>traject!$E$10:$E$14</cx:f>
        <cx:lvl ptCount="5" formatCode="0%">
          <cx:pt idx="0">1</cx:pt>
          <cx:pt idx="1">-0.10000000000000001</cx:pt>
          <cx:pt idx="2">-0.28000000000000003</cx:pt>
          <cx:pt idx="3">-0.02</cx:pt>
          <cx:pt idx="4">-0.59999999999999998</cx:pt>
        </cx:lvl>
      </cx:numDim>
    </cx:data>
  </cx:chartData>
  <cx:chart>
    <cx:plotArea>
      <cx:plotAreaRegion>
        <cx:series layoutId="waterfall" uniqueId="{EBD06700-E3AB-4C9E-80C2-ECEA6E82B2B6}">
          <cx:spPr>
            <a:ln>
              <a:solidFill>
                <a:schemeClr val="bg1"/>
              </a:solidFill>
            </a:ln>
          </cx:spPr>
          <cx:dataPt idx="0">
            <cx:spPr>
              <a:solidFill>
                <a:srgbClr val="4472C4">
                  <a:lumMod val="50000"/>
                </a:srgbClr>
              </a:solidFill>
            </cx:spPr>
          </cx:dataPt>
          <cx:dataPt idx="1">
            <cx:spPr>
              <a:solidFill>
                <a:srgbClr val="00B050"/>
              </a:solidFill>
            </cx:spPr>
          </cx:dataPt>
          <cx:dataPt idx="2">
            <cx:spPr>
              <a:solidFill>
                <a:srgbClr val="00B050"/>
              </a:solidFill>
            </cx:spPr>
          </cx:dataPt>
          <cx:dataPt idx="3">
            <cx:spPr>
              <a:solidFill>
                <a:srgbClr val="00B050"/>
              </a:solidFill>
            </cx:spPr>
          </cx:dataPt>
          <cx:dataPt idx="4">
            <cx:spPr>
              <a:solidFill>
                <a:srgbClr val="4472C4">
                  <a:lumMod val="50000"/>
                </a:srgbClr>
              </a:solidFill>
            </cx:spPr>
          </cx:dataPt>
          <cx:dataId val="0"/>
          <cx:layoutPr>
            <cx:subtotals/>
          </cx:layoutPr>
        </cx:series>
      </cx:plotAreaRegion>
      <cx:axis id="0" hidden="1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800"/>
            </a:pPr>
            <a:endParaRPr lang="en-US" sz="800" b="0" i="0" u="none" strike="noStrike" baseline="0">
              <a:solidFill>
                <a:sysClr val="windowText" lastClr="000000">
                  <a:lumMod val="50000"/>
                  <a:lumOff val="50000"/>
                </a:sysClr>
              </a:solidFill>
              <a:latin typeface="Calibri" panose="020F0502020204030204"/>
            </a:endParaRPr>
          </a:p>
        </cx:txPr>
      </cx:axis>
      <cx:axis id="1" hidden="1">
        <cx:valScaling/>
        <cx:tickLabels/>
      </cx:axis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colis!$D$11:$I$11</cx:f>
        <cx:lvl ptCount="6">
          <cx:pt idx="0">0</cx:pt>
          <cx:pt idx="1">1</cx:pt>
          <cx:pt idx="2">2</cx:pt>
          <cx:pt idx="3">3</cx:pt>
          <cx:pt idx="4">4</cx:pt>
          <cx:pt idx="5">Vide</cx:pt>
        </cx:lvl>
      </cx:strDim>
      <cx:numDim type="size">
        <cx:f dir="row">colis!$D$12:$I$12</cx:f>
        <cx:lvl ptCount="6" formatCode="0%">
          <cx:pt idx="0">0.00032025620496397124</cx:pt>
          <cx:pt idx="1">0.002522017614091274</cx:pt>
          <cx:pt idx="2">0.10664531625300241</cx:pt>
          <cx:pt idx="3">0.080064051240992806</cx:pt>
          <cx:pt idx="4">0.56044835868694964</cx:pt>
          <cx:pt idx="5">0.25</cx:pt>
        </cx:lvl>
      </cx:numDim>
    </cx:data>
  </cx:chartData>
  <cx:chart>
    <cx:plotArea>
      <cx:plotAreaRegion>
        <cx:series layoutId="treemap" uniqueId="{83C35537-B986-4CBF-A858-E1AC20A3DC7B}">
          <cx:tx>
            <cx:txData>
              <cx:f>colis!$C$12</cx:f>
              <cx:v>% du volume total</cx:v>
            </cx:txData>
          </cx:tx>
          <cx:dataPt idx="0">
            <cx:spPr>
              <a:solidFill>
                <a:srgbClr val="03111D"/>
              </a:solidFill>
            </cx:spPr>
          </cx:dataPt>
          <cx:dataPt idx="5">
            <cx:spPr>
              <a:solidFill>
                <a:srgbClr val="AAE6F0">
                  <a:lumMod val="10000"/>
                </a:srgbClr>
              </a:solidFill>
            </cx:spPr>
          </cx:dataPt>
          <cx:dataId val="0"/>
          <cx:layoutPr>
            <cx:parentLabelLayout val="overlapping"/>
          </cx:layoutPr>
        </cx:series>
      </cx:plotAreaRegion>
    </cx:plotArea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</cx:chart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colis!$O$11:$T$11</cx:f>
        <cx:lvl ptCount="6">
          <cx:pt idx="0">0</cx:pt>
          <cx:pt idx="1">1</cx:pt>
          <cx:pt idx="2">2</cx:pt>
          <cx:pt idx="3">3</cx:pt>
          <cx:pt idx="4">4</cx:pt>
          <cx:pt idx="5">Vide</cx:pt>
        </cx:lvl>
      </cx:strDim>
      <cx:numDim type="size">
        <cx:f>colis!$O$12:$T$12</cx:f>
        <cx:lvl ptCount="6" formatCode="0%">
          <cx:pt idx="0">0.0003714971977582066</cx:pt>
          <cx:pt idx="1">0.0029255404323458773</cx:pt>
          <cx:pt idx="2">0.1237085668534828</cx:pt>
          <cx:pt idx="3">0.092874299439551652</cx:pt>
          <cx:pt idx="4">0.6501200960768615</cx:pt>
          <cx:pt idx="5">0.13</cx:pt>
        </cx:lvl>
      </cx:numDim>
    </cx:data>
  </cx:chartData>
  <cx:chart>
    <cx:plotArea>
      <cx:plotAreaRegion>
        <cx:series layoutId="treemap" uniqueId="{7C6547EF-64C1-4DBD-A9E5-3D7EC2B97297}">
          <cx:tx>
            <cx:txData>
              <cx:f>colis!$N$12</cx:f>
              <cx:v>% du volume total</cx:v>
            </cx:txData>
          </cx:tx>
          <cx:dataPt idx="1">
            <cx:spPr>
              <a:solidFill>
                <a:srgbClr val="53C5F8"/>
              </a:solidFill>
            </cx:spPr>
          </cx:dataPt>
          <cx:dataPt idx="2">
            <cx:spPr>
              <a:solidFill>
                <a:srgbClr val="2251FF"/>
              </a:solidFill>
            </cx:spPr>
          </cx:dataPt>
          <cx:dataPt idx="3">
            <cx:spPr>
              <a:solidFill>
                <a:srgbClr val="AAE6F0"/>
              </a:solidFill>
            </cx:spPr>
          </cx:dataPt>
          <cx:dataPt idx="4">
            <cx:spPr>
              <a:solidFill>
                <a:srgbClr val="3C96B4"/>
              </a:solidFill>
            </cx:spPr>
          </cx:dataPt>
          <cx:dataPt idx="5">
            <cx:spPr>
              <a:solidFill>
                <a:srgbClr val="000000"/>
              </a:solidFill>
            </cx:spPr>
          </cx:dataPt>
          <cx:dataId val="0"/>
          <cx:layoutPr>
            <cx:parentLabelLayout val="overlapping"/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98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/>
  </cs:dataLabel>
  <cs:dataLabelCallout>
    <cs:lnRef idx="0"/>
    <cs:fillRef idx="0"/>
    <cs:effectRef idx="0"/>
    <cs:fontRef idx="minor">
      <a:schemeClr val="dk1">
        <a:lumMod val="50000"/>
        <a:lumOff val="50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ln w="9525" cap="flat" cmpd="sng" algn="ctr">
        <a:solidFill>
          <a:schemeClr val="phClr">
            <a:alpha val="50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dk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cap="none" spc="2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lt1"/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lt1"/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lt1"/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6 November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6 November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6 November 2021</a:t>
            </a:fld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8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6 November 2021</a:t>
            </a:fld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064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Donner des exemples – Parler de l’augmentation du taux de </a:t>
            </a:r>
            <a:r>
              <a:rPr lang="fr-FR" err="1"/>
              <a:t>remplissageParler</a:t>
            </a:r>
            <a:r>
              <a:rPr lang="fr-FR"/>
              <a:t> de la facilité d’implémentation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6 November 20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415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Tonne / km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6 November 2021</a:t>
            </a:fld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5835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3 recommendations et un plan </a:t>
            </a:r>
            <a:r>
              <a:rPr lang="en-GB" err="1"/>
              <a:t>d’éxécution</a:t>
            </a:r>
            <a:r>
              <a:rPr lang="en-GB"/>
              <a:t> Claire.</a:t>
            </a:r>
          </a:p>
          <a:p>
            <a:pPr marL="228600" indent="-228600">
              <a:buAutoNum type="arabicPeriod"/>
            </a:pPr>
            <a:r>
              <a:rPr lang="en-GB"/>
              <a:t>Optimisation des routes</a:t>
            </a:r>
          </a:p>
          <a:p>
            <a:pPr marL="228600" indent="-228600">
              <a:buAutoNum type="arabicPeriod"/>
            </a:pPr>
            <a:r>
              <a:rPr lang="en-GB" err="1"/>
              <a:t>Lancement</a:t>
            </a:r>
            <a:r>
              <a:rPr lang="en-GB"/>
              <a:t> d’un entrepôt </a:t>
            </a:r>
            <a:r>
              <a:rPr lang="en-GB" err="1"/>
              <a:t>à</a:t>
            </a:r>
            <a:r>
              <a:rPr lang="en-GB"/>
              <a:t> Rennes</a:t>
            </a:r>
          </a:p>
          <a:p>
            <a:pPr marL="228600" indent="-228600">
              <a:buAutoNum type="arabicPeriod"/>
            </a:pPr>
            <a:r>
              <a:rPr lang="en-GB" err="1"/>
              <a:t>Renouvellement</a:t>
            </a:r>
            <a:r>
              <a:rPr lang="en-GB"/>
              <a:t> </a:t>
            </a:r>
            <a:r>
              <a:rPr lang="en-GB" err="1"/>
              <a:t>progressif</a:t>
            </a:r>
            <a:r>
              <a:rPr lang="en-GB"/>
              <a:t> de la </a:t>
            </a:r>
            <a:r>
              <a:rPr lang="en-GB" err="1"/>
              <a:t>flotte</a:t>
            </a:r>
            <a:endParaRPr lang="en-GB"/>
          </a:p>
          <a:p>
            <a:pPr marL="228600" indent="-228600">
              <a:buAutoNum type="arabicPeriod"/>
            </a:pPr>
            <a:r>
              <a:rPr lang="en-GB"/>
              <a:t>==&gt; Une </a:t>
            </a:r>
            <a:r>
              <a:rPr lang="en-GB" err="1"/>
              <a:t>baisse</a:t>
            </a:r>
            <a:r>
              <a:rPr lang="en-GB"/>
              <a:t> progressive des </a:t>
            </a:r>
            <a:r>
              <a:rPr lang="en-GB" err="1"/>
              <a:t>émissions</a:t>
            </a:r>
            <a:r>
              <a:rPr lang="en-GB"/>
              <a:t> de </a:t>
            </a:r>
            <a:r>
              <a:rPr lang="en-GB" err="1"/>
              <a:t>carbone</a:t>
            </a:r>
            <a:r>
              <a:rPr lang="en-GB"/>
              <a:t> (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effaçant</a:t>
            </a:r>
            <a:r>
              <a:rPr lang="en-GB"/>
              <a:t> les </a:t>
            </a:r>
            <a:r>
              <a:rPr lang="en-GB" err="1"/>
              <a:t>effets</a:t>
            </a:r>
            <a:r>
              <a:rPr lang="en-GB"/>
              <a:t> de </a:t>
            </a:r>
            <a:r>
              <a:rPr lang="en-GB" err="1"/>
              <a:t>croissance</a:t>
            </a:r>
            <a:r>
              <a:rPr lang="en-GB"/>
              <a:t> du </a:t>
            </a:r>
            <a:r>
              <a:rPr lang="en-GB" err="1"/>
              <a:t>marché</a:t>
            </a:r>
            <a:endParaRPr lang="en-GB"/>
          </a:p>
          <a:p>
            <a:pPr marL="0" indent="0">
              <a:buNone/>
            </a:pPr>
            <a:r>
              <a:rPr lang="en-GB"/>
              <a:t>-60% gCO2/€</a:t>
            </a:r>
            <a:r>
              <a:rPr lang="en-GB" err="1"/>
              <a:t>revenu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6 November 20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63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2.emf"/><Relationship Id="rId4" Type="http://schemas.openxmlformats.org/officeDocument/2006/relationships/tags" Target="../tags/tag26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12" Type="http://schemas.openxmlformats.org/officeDocument/2006/relationships/tags" Target="../tags/tag155.xml"/><Relationship Id="rId17" Type="http://schemas.openxmlformats.org/officeDocument/2006/relationships/image" Target="../media/image1.emf"/><Relationship Id="rId2" Type="http://schemas.openxmlformats.org/officeDocument/2006/relationships/tags" Target="../tags/tag145.xml"/><Relationship Id="rId16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49.xml"/><Relationship Id="rId11" Type="http://schemas.openxmlformats.org/officeDocument/2006/relationships/tags" Target="../tags/tag154.xml"/><Relationship Id="rId5" Type="http://schemas.openxmlformats.org/officeDocument/2006/relationships/tags" Target="../tags/tag148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53.xml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4" Type="http://schemas.openxmlformats.org/officeDocument/2006/relationships/tags" Target="../tags/tag157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tags" Target="../tags/tag169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image" Target="../media/image1.emf"/><Relationship Id="rId2" Type="http://schemas.openxmlformats.org/officeDocument/2006/relationships/tags" Target="../tags/tag158.xml"/><Relationship Id="rId16" Type="http://schemas.openxmlformats.org/officeDocument/2006/relationships/oleObject" Target="../embeddings/oleObject12.bin"/><Relationship Id="rId1" Type="http://schemas.openxmlformats.org/officeDocument/2006/relationships/vmlDrawing" Target="../drawings/vmlDrawing12.v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5" Type="http://schemas.openxmlformats.org/officeDocument/2006/relationships/tags" Target="../tags/tag161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66.xml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5" Type="http://schemas.openxmlformats.org/officeDocument/2006/relationships/tags" Target="../tags/tag175.xml"/><Relationship Id="rId10" Type="http://schemas.openxmlformats.org/officeDocument/2006/relationships/tags" Target="../tags/tag180.xml"/><Relationship Id="rId4" Type="http://schemas.openxmlformats.org/officeDocument/2006/relationships/tags" Target="../tags/tag174.xml"/><Relationship Id="rId9" Type="http://schemas.openxmlformats.org/officeDocument/2006/relationships/tags" Target="../tags/tag17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13" Type="http://schemas.openxmlformats.org/officeDocument/2006/relationships/tags" Target="../tags/tag193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12" Type="http://schemas.openxmlformats.org/officeDocument/2006/relationships/tags" Target="../tags/tag192.xml"/><Relationship Id="rId17" Type="http://schemas.openxmlformats.org/officeDocument/2006/relationships/image" Target="../media/image1.emf"/><Relationship Id="rId2" Type="http://schemas.openxmlformats.org/officeDocument/2006/relationships/tags" Target="../tags/tag182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86.xml"/><Relationship Id="rId11" Type="http://schemas.openxmlformats.org/officeDocument/2006/relationships/tags" Target="../tags/tag191.xml"/><Relationship Id="rId5" Type="http://schemas.openxmlformats.org/officeDocument/2006/relationships/tags" Target="../tags/tag18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90.xml"/><Relationship Id="rId4" Type="http://schemas.openxmlformats.org/officeDocument/2006/relationships/tags" Target="../tags/tag184.xml"/><Relationship Id="rId9" Type="http://schemas.openxmlformats.org/officeDocument/2006/relationships/tags" Target="../tags/tag189.xml"/><Relationship Id="rId14" Type="http://schemas.openxmlformats.org/officeDocument/2006/relationships/tags" Target="../tags/tag194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openxmlformats.org/officeDocument/2006/relationships/tags" Target="../tags/tag206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tags" Target="../tags/tag205.xml"/><Relationship Id="rId17" Type="http://schemas.openxmlformats.org/officeDocument/2006/relationships/image" Target="../media/image2.emf"/><Relationship Id="rId2" Type="http://schemas.openxmlformats.org/officeDocument/2006/relationships/tags" Target="../tags/tag195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199.xml"/><Relationship Id="rId11" Type="http://schemas.openxmlformats.org/officeDocument/2006/relationships/tags" Target="../tags/tag204.xml"/><Relationship Id="rId5" Type="http://schemas.openxmlformats.org/officeDocument/2006/relationships/tags" Target="../tags/tag198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Relationship Id="rId14" Type="http://schemas.openxmlformats.org/officeDocument/2006/relationships/tags" Target="../tags/tag20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64.xml"/><Relationship Id="rId5" Type="http://schemas.openxmlformats.org/officeDocument/2006/relationships/tags" Target="../tags/tag263.xml"/><Relationship Id="rId10" Type="http://schemas.openxmlformats.org/officeDocument/2006/relationships/image" Target="../media/image2.emf"/><Relationship Id="rId4" Type="http://schemas.openxmlformats.org/officeDocument/2006/relationships/tags" Target="../tags/tag262.xml"/><Relationship Id="rId9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tags" Target="../tags/tag34.xml"/><Relationship Id="rId11" Type="http://schemas.openxmlformats.org/officeDocument/2006/relationships/image" Target="../media/image1.emf"/><Relationship Id="rId5" Type="http://schemas.openxmlformats.org/officeDocument/2006/relationships/tags" Target="../tags/tag33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70.xml"/><Relationship Id="rId11" Type="http://schemas.openxmlformats.org/officeDocument/2006/relationships/image" Target="../media/image1.emf"/><Relationship Id="rId5" Type="http://schemas.openxmlformats.org/officeDocument/2006/relationships/tags" Target="../tags/tag269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268.xml"/><Relationship Id="rId9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tags" Target="../tags/tag284.xml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image" Target="../media/image1.emf"/><Relationship Id="rId2" Type="http://schemas.openxmlformats.org/officeDocument/2006/relationships/tags" Target="../tags/tag273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281.xml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tags" Target="../tags/tag28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92.xml"/><Relationship Id="rId13" Type="http://schemas.openxmlformats.org/officeDocument/2006/relationships/tags" Target="../tags/tag297.xml"/><Relationship Id="rId3" Type="http://schemas.openxmlformats.org/officeDocument/2006/relationships/tags" Target="../tags/tag287.xml"/><Relationship Id="rId7" Type="http://schemas.openxmlformats.org/officeDocument/2006/relationships/tags" Target="../tags/tag291.xml"/><Relationship Id="rId12" Type="http://schemas.openxmlformats.org/officeDocument/2006/relationships/tags" Target="../tags/tag296.xml"/><Relationship Id="rId17" Type="http://schemas.openxmlformats.org/officeDocument/2006/relationships/image" Target="../media/image1.emf"/><Relationship Id="rId2" Type="http://schemas.openxmlformats.org/officeDocument/2006/relationships/tags" Target="../tags/tag286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90.xml"/><Relationship Id="rId11" Type="http://schemas.openxmlformats.org/officeDocument/2006/relationships/tags" Target="../tags/tag295.xml"/><Relationship Id="rId5" Type="http://schemas.openxmlformats.org/officeDocument/2006/relationships/tags" Target="../tags/tag289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294.xml"/><Relationship Id="rId4" Type="http://schemas.openxmlformats.org/officeDocument/2006/relationships/tags" Target="../tags/tag288.xml"/><Relationship Id="rId9" Type="http://schemas.openxmlformats.org/officeDocument/2006/relationships/tags" Target="../tags/tag293.xml"/><Relationship Id="rId14" Type="http://schemas.openxmlformats.org/officeDocument/2006/relationships/tags" Target="../tags/tag29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305.xml"/><Relationship Id="rId13" Type="http://schemas.openxmlformats.org/officeDocument/2006/relationships/tags" Target="../tags/tag310.xml"/><Relationship Id="rId18" Type="http://schemas.openxmlformats.org/officeDocument/2006/relationships/image" Target="../media/image1.emf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12" Type="http://schemas.openxmlformats.org/officeDocument/2006/relationships/tags" Target="../tags/tag309.xml"/><Relationship Id="rId17" Type="http://schemas.openxmlformats.org/officeDocument/2006/relationships/oleObject" Target="../embeddings/oleObject21.bin"/><Relationship Id="rId2" Type="http://schemas.openxmlformats.org/officeDocument/2006/relationships/tags" Target="../tags/tag299.xml"/><Relationship Id="rId16" Type="http://schemas.openxmlformats.org/officeDocument/2006/relationships/slideMaster" Target="../slideMasters/slideMaster4.xml"/><Relationship Id="rId1" Type="http://schemas.openxmlformats.org/officeDocument/2006/relationships/vmlDrawing" Target="../drawings/vmlDrawing21.vml"/><Relationship Id="rId6" Type="http://schemas.openxmlformats.org/officeDocument/2006/relationships/tags" Target="../tags/tag303.xml"/><Relationship Id="rId11" Type="http://schemas.openxmlformats.org/officeDocument/2006/relationships/tags" Target="../tags/tag308.xml"/><Relationship Id="rId5" Type="http://schemas.openxmlformats.org/officeDocument/2006/relationships/tags" Target="../tags/tag302.xml"/><Relationship Id="rId15" Type="http://schemas.openxmlformats.org/officeDocument/2006/relationships/tags" Target="../tags/tag312.xml"/><Relationship Id="rId10" Type="http://schemas.openxmlformats.org/officeDocument/2006/relationships/tags" Target="../tags/tag307.xml"/><Relationship Id="rId4" Type="http://schemas.openxmlformats.org/officeDocument/2006/relationships/tags" Target="../tags/tag301.xml"/><Relationship Id="rId9" Type="http://schemas.openxmlformats.org/officeDocument/2006/relationships/tags" Target="../tags/tag306.xml"/><Relationship Id="rId14" Type="http://schemas.openxmlformats.org/officeDocument/2006/relationships/tags" Target="../tags/tag31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319.xml"/><Relationship Id="rId13" Type="http://schemas.openxmlformats.org/officeDocument/2006/relationships/tags" Target="../tags/tag324.xml"/><Relationship Id="rId18" Type="http://schemas.openxmlformats.org/officeDocument/2006/relationships/image" Target="../media/image3.emf"/><Relationship Id="rId3" Type="http://schemas.openxmlformats.org/officeDocument/2006/relationships/tags" Target="../tags/tag314.xml"/><Relationship Id="rId7" Type="http://schemas.openxmlformats.org/officeDocument/2006/relationships/tags" Target="../tags/tag318.xml"/><Relationship Id="rId12" Type="http://schemas.openxmlformats.org/officeDocument/2006/relationships/tags" Target="../tags/tag323.xml"/><Relationship Id="rId17" Type="http://schemas.openxmlformats.org/officeDocument/2006/relationships/oleObject" Target="../embeddings/oleObject22.bin"/><Relationship Id="rId2" Type="http://schemas.openxmlformats.org/officeDocument/2006/relationships/tags" Target="../tags/tag313.xml"/><Relationship Id="rId16" Type="http://schemas.openxmlformats.org/officeDocument/2006/relationships/slideMaster" Target="../slideMasters/slideMaster4.xml"/><Relationship Id="rId1" Type="http://schemas.openxmlformats.org/officeDocument/2006/relationships/vmlDrawing" Target="../drawings/vmlDrawing22.vml"/><Relationship Id="rId6" Type="http://schemas.openxmlformats.org/officeDocument/2006/relationships/tags" Target="../tags/tag317.xml"/><Relationship Id="rId11" Type="http://schemas.openxmlformats.org/officeDocument/2006/relationships/tags" Target="../tags/tag322.xml"/><Relationship Id="rId5" Type="http://schemas.openxmlformats.org/officeDocument/2006/relationships/tags" Target="../tags/tag316.xml"/><Relationship Id="rId15" Type="http://schemas.openxmlformats.org/officeDocument/2006/relationships/tags" Target="../tags/tag326.xml"/><Relationship Id="rId10" Type="http://schemas.openxmlformats.org/officeDocument/2006/relationships/tags" Target="../tags/tag321.xml"/><Relationship Id="rId4" Type="http://schemas.openxmlformats.org/officeDocument/2006/relationships/tags" Target="../tags/tag315.xml"/><Relationship Id="rId9" Type="http://schemas.openxmlformats.org/officeDocument/2006/relationships/tags" Target="../tags/tag320.xml"/><Relationship Id="rId14" Type="http://schemas.openxmlformats.org/officeDocument/2006/relationships/tags" Target="../tags/tag32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333.xml"/><Relationship Id="rId13" Type="http://schemas.openxmlformats.org/officeDocument/2006/relationships/tags" Target="../tags/tag338.xml"/><Relationship Id="rId3" Type="http://schemas.openxmlformats.org/officeDocument/2006/relationships/tags" Target="../tags/tag328.xml"/><Relationship Id="rId7" Type="http://schemas.openxmlformats.org/officeDocument/2006/relationships/tags" Target="../tags/tag332.xml"/><Relationship Id="rId12" Type="http://schemas.openxmlformats.org/officeDocument/2006/relationships/tags" Target="../tags/tag337.xml"/><Relationship Id="rId17" Type="http://schemas.openxmlformats.org/officeDocument/2006/relationships/image" Target="../media/image1.emf"/><Relationship Id="rId2" Type="http://schemas.openxmlformats.org/officeDocument/2006/relationships/tags" Target="../tags/tag327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331.xml"/><Relationship Id="rId11" Type="http://schemas.openxmlformats.org/officeDocument/2006/relationships/tags" Target="../tags/tag336.xml"/><Relationship Id="rId5" Type="http://schemas.openxmlformats.org/officeDocument/2006/relationships/tags" Target="../tags/tag330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335.xml"/><Relationship Id="rId4" Type="http://schemas.openxmlformats.org/officeDocument/2006/relationships/tags" Target="../tags/tag329.xml"/><Relationship Id="rId9" Type="http://schemas.openxmlformats.org/officeDocument/2006/relationships/tags" Target="../tags/tag334.xml"/><Relationship Id="rId14" Type="http://schemas.openxmlformats.org/officeDocument/2006/relationships/tags" Target="../tags/tag339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42.xml"/><Relationship Id="rId7" Type="http://schemas.openxmlformats.org/officeDocument/2006/relationships/tags" Target="../tags/tag346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tags" Target="../tags/tag345.xml"/><Relationship Id="rId5" Type="http://schemas.openxmlformats.org/officeDocument/2006/relationships/tags" Target="../tags/tag344.xml"/><Relationship Id="rId4" Type="http://schemas.openxmlformats.org/officeDocument/2006/relationships/tags" Target="../tags/tag34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49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5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52.xml"/><Relationship Id="rId2" Type="http://schemas.openxmlformats.org/officeDocument/2006/relationships/tags" Target="../tags/tag35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image" Target="../media/image1.emf"/><Relationship Id="rId2" Type="http://schemas.openxmlformats.org/officeDocument/2006/relationships/tags" Target="../tags/tag3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image" Target="../media/image1.emf"/><Relationship Id="rId2" Type="http://schemas.openxmlformats.org/officeDocument/2006/relationships/tags" Target="../tags/tag5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image" Target="../media/image1.emf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6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image" Target="../media/image3.emf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7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tags" Target="../tags/tag102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17" Type="http://schemas.openxmlformats.org/officeDocument/2006/relationships/image" Target="../media/image1.emf"/><Relationship Id="rId2" Type="http://schemas.openxmlformats.org/officeDocument/2006/relationships/tags" Target="../tags/tag9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5" Type="http://schemas.openxmlformats.org/officeDocument/2006/relationships/tags" Target="../tags/tag9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tags" Target="../tags/tag10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C99625-451E-4111-AFFF-59B1EAC7D1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1099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C99625-451E-4111-AFFF-59B1EAC7D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56CDAB-CA9A-43EA-9731-D68ACEE47C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1F430752-9F46-430E-93A8-58E8FAF85299}"/>
              </a:ext>
            </a:extLst>
          </p:cNvPr>
          <p:cNvSpPr>
            <a:spLocks noChangeAspect="1" noChangeArrowheads="1" noTextEdit="1"/>
          </p:cNvSpPr>
          <p:nvPr userDrawn="1"/>
        </p:nvSpPr>
        <p:spPr bwMode="black">
          <a:xfrm>
            <a:off x="551942" y="481160"/>
            <a:ext cx="1893201" cy="585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latin typeface="Arial" panose="020B0604020202020204" pitchFamily="34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9B2432-6AD6-42B1-B21E-ECDED56A51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9179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89B2432-6AD6-42B1-B21E-ECDED56A51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fr-FR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F6C78FFB-B18A-4EFB-BDDD-C05FEB7B979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70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fr-FR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>
                <a:solidFill>
                  <a:schemeClr val="bg2"/>
                </a:solidFill>
              </a:rPr>
              <a:t>Source 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79BABD6A-D4F4-40CD-9B9F-4C8302DD3E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fr-FR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>
                <a:solidFill>
                  <a:schemeClr val="bg2"/>
                </a:solidFill>
              </a:rPr>
              <a:t>Source 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07DBF71C-DF20-45F2-AC37-31AE0E7142F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fr-FR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>
                <a:solidFill>
                  <a:schemeClr val="bg2"/>
                </a:solidFill>
              </a:rPr>
              <a:t>Source 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B63B394C-3A27-4A38-A331-767CD7ABDE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fr-FR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>
                <a:solidFill>
                  <a:schemeClr val="bg2"/>
                </a:solidFill>
              </a:rPr>
              <a:t>Source 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820DA98C-A316-4097-96A3-991B2CF0D7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fr-FR" sz="2500" b="1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kimetrics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fr-FR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 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0D2430A2-88E5-4FC4-BDCE-DCFAD94C0AE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67185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17766"/>
            <a:ext cx="173372" cy="171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89" baseline="0" smtClean="0">
                <a:solidFill>
                  <a:srgbClr val="808080"/>
                </a:solidFill>
                <a:latin typeface="+mn-lt"/>
              </a:rPr>
              <a:pPr/>
              <a:t>‹N°›</a:t>
            </a:fld>
            <a:endParaRPr lang="en-US" sz="1089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870714" y="6619468"/>
            <a:ext cx="644408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1089" baseline="0" err="1">
                <a:solidFill>
                  <a:srgbClr val="808080"/>
                </a:solidFill>
                <a:latin typeface="+mn-lt"/>
              </a:rPr>
              <a:t>Ekimetrics</a:t>
            </a:r>
            <a:endParaRPr lang="en-US" sz="1089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18095"/>
            <a:endParaRPr lang="en-US" sz="108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57877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340A90-125B-4843-B4ED-03A7D30A2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C8632D-C12C-456A-849E-7A2356F877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19605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C99625-451E-4111-AFFF-59B1EAC7D1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C99625-451E-4111-AFFF-59B1EAC7D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56CDAB-CA9A-43EA-9731-D68ACEE47C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30970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D81DE886-1792-49FB-BC74-725B951DC1F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D81DE886-1792-49FB-BC74-725B951DC1F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396369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1820D60A-F62D-4D31-A0A6-BF157295306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943576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9A711064-B052-4E81-951A-8AEB7729CB2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152223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4B42C47D-DE9D-4D35-AF7A-7B25DA6D103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617721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1AC0E66B-9020-4D1A-BBFC-042BC17E8DB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539720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kimetrics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 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63A0A3A-43B6-4079-AE58-4E27F72563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612174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9021B1E-DC22-4CFD-AA2F-5798380688D2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91308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8BAFE04A-BBA9-4DF9-87AA-59322D1024A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71618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9B2432-6AD6-42B1-B21E-ECDED56A51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89B2432-6AD6-42B1-B21E-ECDED56A51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</p:spTree>
    <p:extLst>
      <p:ext uri="{BB962C8B-B14F-4D97-AF65-F5344CB8AC3E}">
        <p14:creationId xmlns:p14="http://schemas.microsoft.com/office/powerpoint/2010/main" val="2377720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1820D60A-F62D-4D31-A0A6-BF157295306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9A711064-B052-4E81-951A-8AEB7729CB2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4B42C47D-DE9D-4D35-AF7A-7B25DA6D103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1AC0E66B-9020-4D1A-BBFC-042BC17E8DB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kimetrics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 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63A0A3A-43B6-4079-AE58-4E27F72563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538738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9021B1E-DC22-4CFD-AA2F-5798380688D2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8BAFE04A-BBA9-4DF9-87AA-59322D1024A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34" Type="http://schemas.openxmlformats.org/officeDocument/2006/relationships/tags" Target="../tags/tag2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tags" Target="../tags/tag2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3.xml"/><Relationship Id="rId32" Type="http://schemas.openxmlformats.org/officeDocument/2006/relationships/tags" Target="../tags/tag2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31" Type="http://schemas.openxmlformats.org/officeDocument/2006/relationships/tags" Target="../tags/tag2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26" Type="http://schemas.openxmlformats.org/officeDocument/2006/relationships/tags" Target="../tags/tag134.xml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129.xml"/><Relationship Id="rId7" Type="http://schemas.openxmlformats.org/officeDocument/2006/relationships/theme" Target="../theme/theme2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5" Type="http://schemas.openxmlformats.org/officeDocument/2006/relationships/tags" Target="../tags/tag133.xml"/><Relationship Id="rId33" Type="http://schemas.openxmlformats.org/officeDocument/2006/relationships/image" Target="../media/image4.emf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124.xml"/><Relationship Id="rId20" Type="http://schemas.openxmlformats.org/officeDocument/2006/relationships/tags" Target="../tags/tag128.xml"/><Relationship Id="rId29" Type="http://schemas.openxmlformats.org/officeDocument/2006/relationships/tags" Target="../tags/tag137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119.xml"/><Relationship Id="rId24" Type="http://schemas.openxmlformats.org/officeDocument/2006/relationships/tags" Target="../tags/tag132.xml"/><Relationship Id="rId32" Type="http://schemas.openxmlformats.org/officeDocument/2006/relationships/oleObject" Target="../embeddings/oleObject10.bin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123.xml"/><Relationship Id="rId23" Type="http://schemas.openxmlformats.org/officeDocument/2006/relationships/tags" Target="../tags/tag131.xml"/><Relationship Id="rId28" Type="http://schemas.openxmlformats.org/officeDocument/2006/relationships/tags" Target="../tags/tag136.xml"/><Relationship Id="rId10" Type="http://schemas.openxmlformats.org/officeDocument/2006/relationships/tags" Target="../tags/tag118.xml"/><Relationship Id="rId19" Type="http://schemas.openxmlformats.org/officeDocument/2006/relationships/tags" Target="../tags/tag127.xml"/><Relationship Id="rId31" Type="http://schemas.openxmlformats.org/officeDocument/2006/relationships/tags" Target="../tags/tag139.xml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tags" Target="../tags/tag130.xml"/><Relationship Id="rId27" Type="http://schemas.openxmlformats.org/officeDocument/2006/relationships/tags" Target="../tags/tag135.xml"/><Relationship Id="rId30" Type="http://schemas.openxmlformats.org/officeDocument/2006/relationships/tags" Target="../tags/tag1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13" Type="http://schemas.openxmlformats.org/officeDocument/2006/relationships/tags" Target="../tags/tag216.xml"/><Relationship Id="rId18" Type="http://schemas.openxmlformats.org/officeDocument/2006/relationships/tags" Target="../tags/tag221.xml"/><Relationship Id="rId26" Type="http://schemas.openxmlformats.org/officeDocument/2006/relationships/tags" Target="../tags/tag229.xml"/><Relationship Id="rId3" Type="http://schemas.openxmlformats.org/officeDocument/2006/relationships/theme" Target="../theme/theme3.xml"/><Relationship Id="rId21" Type="http://schemas.openxmlformats.org/officeDocument/2006/relationships/tags" Target="../tags/tag224.xml"/><Relationship Id="rId34" Type="http://schemas.openxmlformats.org/officeDocument/2006/relationships/oleObject" Target="../embeddings/oleObject15.bin"/><Relationship Id="rId7" Type="http://schemas.openxmlformats.org/officeDocument/2006/relationships/tags" Target="../tags/tag210.xml"/><Relationship Id="rId12" Type="http://schemas.openxmlformats.org/officeDocument/2006/relationships/tags" Target="../tags/tag215.xml"/><Relationship Id="rId17" Type="http://schemas.openxmlformats.org/officeDocument/2006/relationships/tags" Target="../tags/tag220.xml"/><Relationship Id="rId25" Type="http://schemas.openxmlformats.org/officeDocument/2006/relationships/tags" Target="../tags/tag228.xml"/><Relationship Id="rId33" Type="http://schemas.openxmlformats.org/officeDocument/2006/relationships/tags" Target="../tags/tag236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219.xml"/><Relationship Id="rId20" Type="http://schemas.openxmlformats.org/officeDocument/2006/relationships/tags" Target="../tags/tag223.xml"/><Relationship Id="rId29" Type="http://schemas.openxmlformats.org/officeDocument/2006/relationships/tags" Target="../tags/tag232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209.xml"/><Relationship Id="rId11" Type="http://schemas.openxmlformats.org/officeDocument/2006/relationships/tags" Target="../tags/tag214.xml"/><Relationship Id="rId24" Type="http://schemas.openxmlformats.org/officeDocument/2006/relationships/tags" Target="../tags/tag227.xml"/><Relationship Id="rId32" Type="http://schemas.openxmlformats.org/officeDocument/2006/relationships/tags" Target="../tags/tag235.xml"/><Relationship Id="rId5" Type="http://schemas.openxmlformats.org/officeDocument/2006/relationships/tags" Target="../tags/tag208.xml"/><Relationship Id="rId15" Type="http://schemas.openxmlformats.org/officeDocument/2006/relationships/tags" Target="../tags/tag218.xml"/><Relationship Id="rId23" Type="http://schemas.openxmlformats.org/officeDocument/2006/relationships/tags" Target="../tags/tag226.xml"/><Relationship Id="rId28" Type="http://schemas.openxmlformats.org/officeDocument/2006/relationships/tags" Target="../tags/tag231.xml"/><Relationship Id="rId10" Type="http://schemas.openxmlformats.org/officeDocument/2006/relationships/tags" Target="../tags/tag213.xml"/><Relationship Id="rId19" Type="http://schemas.openxmlformats.org/officeDocument/2006/relationships/tags" Target="../tags/tag222.xml"/><Relationship Id="rId31" Type="http://schemas.openxmlformats.org/officeDocument/2006/relationships/tags" Target="../tags/tag234.xml"/><Relationship Id="rId4" Type="http://schemas.openxmlformats.org/officeDocument/2006/relationships/vmlDrawing" Target="../drawings/vmlDrawing15.vml"/><Relationship Id="rId9" Type="http://schemas.openxmlformats.org/officeDocument/2006/relationships/tags" Target="../tags/tag212.xml"/><Relationship Id="rId14" Type="http://schemas.openxmlformats.org/officeDocument/2006/relationships/tags" Target="../tags/tag217.xml"/><Relationship Id="rId22" Type="http://schemas.openxmlformats.org/officeDocument/2006/relationships/tags" Target="../tags/tag225.xml"/><Relationship Id="rId27" Type="http://schemas.openxmlformats.org/officeDocument/2006/relationships/tags" Target="../tags/tag230.xml"/><Relationship Id="rId30" Type="http://schemas.openxmlformats.org/officeDocument/2006/relationships/tags" Target="../tags/tag233.xml"/><Relationship Id="rId35" Type="http://schemas.openxmlformats.org/officeDocument/2006/relationships/image" Target="../media/image5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238.xml"/><Relationship Id="rId18" Type="http://schemas.openxmlformats.org/officeDocument/2006/relationships/tags" Target="../tags/tag243.xml"/><Relationship Id="rId26" Type="http://schemas.openxmlformats.org/officeDocument/2006/relationships/tags" Target="../tags/tag251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46.xml"/><Relationship Id="rId34" Type="http://schemas.openxmlformats.org/officeDocument/2006/relationships/tags" Target="../tags/tag259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16.vml"/><Relationship Id="rId17" Type="http://schemas.openxmlformats.org/officeDocument/2006/relationships/tags" Target="../tags/tag242.xml"/><Relationship Id="rId25" Type="http://schemas.openxmlformats.org/officeDocument/2006/relationships/tags" Target="../tags/tag250.xml"/><Relationship Id="rId33" Type="http://schemas.openxmlformats.org/officeDocument/2006/relationships/tags" Target="../tags/tag258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241.xml"/><Relationship Id="rId20" Type="http://schemas.openxmlformats.org/officeDocument/2006/relationships/tags" Target="../tags/tag245.xml"/><Relationship Id="rId29" Type="http://schemas.openxmlformats.org/officeDocument/2006/relationships/tags" Target="../tags/tag25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4.xml"/><Relationship Id="rId24" Type="http://schemas.openxmlformats.org/officeDocument/2006/relationships/tags" Target="../tags/tag249.xml"/><Relationship Id="rId32" Type="http://schemas.openxmlformats.org/officeDocument/2006/relationships/tags" Target="../tags/tag257.xml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240.xml"/><Relationship Id="rId23" Type="http://schemas.openxmlformats.org/officeDocument/2006/relationships/tags" Target="../tags/tag248.xml"/><Relationship Id="rId28" Type="http://schemas.openxmlformats.org/officeDocument/2006/relationships/tags" Target="../tags/tag253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244.xml"/><Relationship Id="rId31" Type="http://schemas.openxmlformats.org/officeDocument/2006/relationships/tags" Target="../tags/tag256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239.xml"/><Relationship Id="rId22" Type="http://schemas.openxmlformats.org/officeDocument/2006/relationships/tags" Target="../tags/tag247.xml"/><Relationship Id="rId27" Type="http://schemas.openxmlformats.org/officeDocument/2006/relationships/tags" Target="../tags/tag252.xml"/><Relationship Id="rId30" Type="http://schemas.openxmlformats.org/officeDocument/2006/relationships/tags" Target="../tags/tag255.xml"/><Relationship Id="rId35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51632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5" imgW="413" imgH="416" progId="TCLayout.ActiveDocument.1">
                  <p:embed/>
                </p:oleObj>
              </mc:Choice>
              <mc:Fallback>
                <p:oleObj name="think-cell Slide" r:id="rId3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6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fr-FR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555200" y="3243600"/>
            <a:ext cx="1269335" cy="958286"/>
            <a:chOff x="4372690" y="3739101"/>
            <a:chExt cx="126933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5552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FD186F18-55A4-4C07-9BF5-E04E0294E0A7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6972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F2858F3F-9D33-4229-8290-EAA49213273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fr-FR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fr-FR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01185558-CDA3-4A96-95B5-70AC8329EE0F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60" r:id="rId3"/>
    <p:sldLayoutId id="2147483856" r:id="rId4"/>
    <p:sldLayoutId id="2147483805" r:id="rId5"/>
    <p:sldLayoutId id="2147483806" r:id="rId6"/>
    <p:sldLayoutId id="2147483881" r:id="rId7"/>
    <p:sldLayoutId id="2147483879" r:id="rId8"/>
    <p:sldLayoutId id="2147483706" r:id="rId9"/>
    <p:sldLayoutId id="2147483718" r:id="rId1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D0AD33E-7D56-414B-838A-16B41C276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79172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32" imgW="344" imgH="344" progId="TCLayout.ActiveDocument.1">
                  <p:embed/>
                </p:oleObj>
              </mc:Choice>
              <mc:Fallback>
                <p:oleObj name="think-cell Slide" r:id="rId3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D0AD33E-7D56-414B-838A-16B41C276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7612B59-C609-4904-9E94-827036356906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black"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fr-FR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15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fr-FR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555200" y="43920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5552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B604EDDE-4F51-4605-B4B8-43E1E6349AAE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716" y="1292608"/>
            <a:ext cx="429605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5514B0DE-3619-4BD9-BCAB-C868DDDE08A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fr-FR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fr-FR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208A69CF-C364-42F8-B6DC-3A034BA8C65F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CCE165A-817E-4C37-B8BE-07C1BDAC30D2}"/>
              </a:ext>
            </a:extLst>
          </p:cNvPr>
          <p:cNvGrpSpPr/>
          <p:nvPr userDrawn="1"/>
        </p:nvGrpSpPr>
        <p:grpSpPr>
          <a:xfrm>
            <a:off x="105552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2309E261-B769-4002-9A73-DD3094A669F5}"/>
                </a:ext>
              </a:extLst>
            </p:cNvPr>
            <p:cNvSpPr txBox="1"/>
            <p:nvPr userDrawn="1"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B4A21493-6436-4718-8BFD-4E74818994D1}"/>
                </a:ext>
              </a:extLst>
            </p:cNvPr>
            <p:cNvSpPr txBox="1"/>
            <p:nvPr userDrawn="1"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54E346BB-608E-4538-B70B-73C7B0032502}"/>
                </a:ext>
              </a:extLst>
            </p:cNvPr>
            <p:cNvSpPr txBox="1"/>
            <p:nvPr userDrawn="1"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006ACAEA-1EA8-47B2-AD1F-72E6F9BB5705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baseline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3E007A1C-057C-49AA-9E17-5828FE73F595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baseline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9A5FECB4-E37B-4671-95F2-C767A74C2972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82" r:id="rId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3707347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21" b="0" i="0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47631" y="1963064"/>
            <a:ext cx="2698679" cy="128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808080"/>
                </a:solidFill>
                <a:latin typeface="+mn-lt"/>
                <a:ea typeface="+mn-ea"/>
              </a:rPr>
              <a:t>Last Modified 05/11/2018 15:36 Romance Standard Time</a:t>
            </a:r>
            <a:endParaRPr lang="en-US" sz="217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27690" y="4181044"/>
            <a:ext cx="338562" cy="128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217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418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680404" cy="171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89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341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176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389356"/>
            <a:ext cx="11725484" cy="171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89" baseline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595064"/>
            <a:ext cx="9795571" cy="171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829342" indent="-829342" defTabSz="1218095">
              <a:tabLst>
                <a:tab pos="857418" algn="l"/>
              </a:tabLst>
            </a:pPr>
            <a:r>
              <a:rPr lang="en-US" sz="1089" baseline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6208" y="1991016"/>
            <a:ext cx="5853024" cy="146579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100271"/>
            <a:ext cx="5801188" cy="701350"/>
            <a:chOff x="915" y="597"/>
            <a:chExt cx="2686" cy="43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597"/>
              <a:ext cx="2686" cy="4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2176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2176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242584" y="291554"/>
            <a:ext cx="644880" cy="199277"/>
            <a:chOff x="8266771" y="285750"/>
            <a:chExt cx="474004" cy="195310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6771" y="285750"/>
              <a:ext cx="474004" cy="195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rgbClr val="002960"/>
                </a:buClr>
              </a:pPr>
              <a:r>
                <a:rPr lang="en-US" sz="1089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6771" y="285750"/>
              <a:ext cx="0" cy="19531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6771" y="481060"/>
              <a:ext cx="47400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7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18095"/>
            <a:endParaRPr lang="en-US" sz="108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63068" y="277885"/>
            <a:ext cx="1598714" cy="856305"/>
            <a:chOff x="7607284" y="279400"/>
            <a:chExt cx="1175096" cy="839258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 baseline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 baseline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 baseline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169259" y="279400"/>
              <a:ext cx="613121" cy="2931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546100"/>
              <a:ext cx="613121" cy="2931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825501"/>
              <a:ext cx="613121" cy="2931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82067" y="277991"/>
            <a:ext cx="1179715" cy="1128422"/>
            <a:chOff x="5894005" y="919828"/>
            <a:chExt cx="867121" cy="1105958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baseline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baseline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baseline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baseline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48005" y="919828"/>
              <a:ext cx="613121" cy="2931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1189703"/>
              <a:ext cx="613121" cy="2931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461166"/>
              <a:ext cx="613121" cy="2931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732629"/>
              <a:ext cx="613121" cy="2931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91356" y="277476"/>
            <a:ext cx="1270426" cy="1423045"/>
            <a:chOff x="5894005" y="2695123"/>
            <a:chExt cx="933796" cy="1394716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14680" y="2696542"/>
              <a:ext cx="613121" cy="293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974156"/>
              <a:ext cx="613121" cy="293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3248596"/>
              <a:ext cx="613121" cy="293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521448"/>
              <a:ext cx="613121" cy="293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796682"/>
              <a:ext cx="613121" cy="293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095">
                <a:buClr>
                  <a:schemeClr val="tx2"/>
                </a:buClr>
              </a:pPr>
              <a:r>
                <a:rPr lang="en-US" sz="1905" baseline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52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3" r:id="rId2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72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905" baseline="0">
          <a:solidFill>
            <a:schemeClr val="tx1"/>
          </a:solidFill>
          <a:latin typeface="+mn-lt"/>
          <a:ea typeface="+mn-ea"/>
          <a:cs typeface="+mn-cs"/>
        </a:defRPr>
      </a:lvl1pPr>
      <a:lvl2pPr marL="263488" indent="-26132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905" baseline="0">
          <a:solidFill>
            <a:schemeClr val="tx1"/>
          </a:solidFill>
          <a:latin typeface="+mn-lt"/>
        </a:defRPr>
      </a:lvl2pPr>
      <a:lvl3pPr marL="622005" indent="-356358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5" baseline="0">
          <a:solidFill>
            <a:schemeClr val="tx1"/>
          </a:solidFill>
          <a:latin typeface="+mn-lt"/>
        </a:defRPr>
      </a:lvl3pPr>
      <a:lvl4pPr marL="835822" indent="-211655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905" baseline="0">
          <a:solidFill>
            <a:schemeClr val="tx1"/>
          </a:solidFill>
          <a:latin typeface="+mn-lt"/>
        </a:defRPr>
      </a:lvl4pPr>
      <a:lvl5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5" baseline="0">
          <a:solidFill>
            <a:schemeClr val="tx1"/>
          </a:solidFill>
          <a:latin typeface="+mn-lt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35" imgW="413" imgH="416" progId="TCLayout.ActiveDocument.1">
                  <p:embed/>
                </p:oleObj>
              </mc:Choice>
              <mc:Fallback>
                <p:oleObj name="think-cell Slide" r:id="rId3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0443869" y="6499381"/>
            <a:ext cx="532198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120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kimetrics</a:t>
            </a:r>
            <a:endParaRPr lang="fr-FR" sz="900" kern="12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6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fr-FR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555200" y="3243600"/>
            <a:ext cx="1269335" cy="958286"/>
            <a:chOff x="4372690" y="3739101"/>
            <a:chExt cx="126933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5552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FD186F18-55A4-4C07-9BF5-E04E0294E0A7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6972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F2858F3F-9D33-4229-8290-EAA49213273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fr-FR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fr-FR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01185558-CDA3-4A96-95B5-70AC8329EE0F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02579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354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8.jpeg"/><Relationship Id="rId2" Type="http://schemas.openxmlformats.org/officeDocument/2006/relationships/tags" Target="../tags/tag35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57.xml"/><Relationship Id="rId11" Type="http://schemas.openxmlformats.org/officeDocument/2006/relationships/image" Target="../media/image7.png"/><Relationship Id="rId5" Type="http://schemas.openxmlformats.org/officeDocument/2006/relationships/tags" Target="../tags/tag356.xml"/><Relationship Id="rId10" Type="http://schemas.openxmlformats.org/officeDocument/2006/relationships/image" Target="../media/image6.png"/><Relationship Id="rId4" Type="http://schemas.openxmlformats.org/officeDocument/2006/relationships/tags" Target="../tags/tag355.xml"/><Relationship Id="rId9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0.svg"/><Relationship Id="rId11" Type="http://schemas.openxmlformats.org/officeDocument/2006/relationships/chart" Target="../charts/chart1.xml"/><Relationship Id="rId5" Type="http://schemas.openxmlformats.org/officeDocument/2006/relationships/image" Target="../media/image59.png"/><Relationship Id="rId10" Type="http://schemas.openxmlformats.org/officeDocument/2006/relationships/image" Target="../media/image52.svg"/><Relationship Id="rId4" Type="http://schemas.openxmlformats.org/officeDocument/2006/relationships/image" Target="../media/image58.svg"/><Relationship Id="rId9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7.png"/><Relationship Id="rId2" Type="http://schemas.microsoft.com/office/2014/relationships/chartEx" Target="../charts/chartEx3.xml"/><Relationship Id="rId1" Type="http://schemas.openxmlformats.org/officeDocument/2006/relationships/slideLayout" Target="../slideLayouts/slideLayout20.xml"/><Relationship Id="rId6" Type="http://schemas.microsoft.com/office/2014/relationships/chartEx" Target="../charts/chartEx5.xml"/><Relationship Id="rId5" Type="http://schemas.openxmlformats.org/officeDocument/2006/relationships/image" Target="../media/image66.png"/><Relationship Id="rId4" Type="http://schemas.microsoft.com/office/2014/relationships/chartEx" Target="../charts/chartEx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32.jpeg"/><Relationship Id="rId4" Type="http://schemas.microsoft.com/office/2014/relationships/chartEx" Target="../charts/chartEx1.xml"/><Relationship Id="rId9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microsoft.com/office/2014/relationships/chartEx" Target="../charts/chartEx2.xml"/><Relationship Id="rId3" Type="http://schemas.openxmlformats.org/officeDocument/2006/relationships/tags" Target="../tags/tag360.xml"/><Relationship Id="rId7" Type="http://schemas.openxmlformats.org/officeDocument/2006/relationships/image" Target="../media/image34.png"/><Relationship Id="rId12" Type="http://schemas.openxmlformats.org/officeDocument/2006/relationships/image" Target="../media/image38.png"/><Relationship Id="rId2" Type="http://schemas.openxmlformats.org/officeDocument/2006/relationships/tags" Target="../tags/tag359.xml"/><Relationship Id="rId16" Type="http://schemas.openxmlformats.org/officeDocument/2006/relationships/image" Target="../media/image41.svg"/><Relationship Id="rId1" Type="http://schemas.openxmlformats.org/officeDocument/2006/relationships/tags" Target="../tags/tag358.xml"/><Relationship Id="rId6" Type="http://schemas.openxmlformats.org/officeDocument/2006/relationships/notesSlide" Target="../notesSlides/notesSlide3.xml"/><Relationship Id="rId11" Type="http://schemas.microsoft.com/office/2007/relationships/hdphoto" Target="../media/hdphoto1.wdp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40.png"/><Relationship Id="rId10" Type="http://schemas.openxmlformats.org/officeDocument/2006/relationships/image" Target="../media/image37.png"/><Relationship Id="rId4" Type="http://schemas.openxmlformats.org/officeDocument/2006/relationships/tags" Target="../tags/tag361.xml"/><Relationship Id="rId9" Type="http://schemas.openxmlformats.org/officeDocument/2006/relationships/image" Target="../media/image36.png"/><Relationship Id="rId14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2.pn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35.svg"/><Relationship Id="rId9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8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openxmlformats.org/officeDocument/2006/relationships/hyperlink" Target="https://www.ipcc.ch/site/assets/uploads/2018/02/ipcc_wg3_ar5_chapter8.pdf" TargetMode="External"/><Relationship Id="rId4" Type="http://schemas.openxmlformats.org/officeDocument/2006/relationships/hyperlink" Target="https://www.transportenvironment.org/wp-content/uploads/2021/07/2020_05_TE_comment_decarboner_le_fret_francais_d_ici_2050_FR_final.pdf" TargetMode="External"/><Relationship Id="rId9" Type="http://schemas.openxmlformats.org/officeDocument/2006/relationships/image" Target="../media/image5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3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10" Type="http://schemas.openxmlformats.org/officeDocument/2006/relationships/image" Target="../media/image56.png"/><Relationship Id="rId4" Type="http://schemas.openxmlformats.org/officeDocument/2006/relationships/image" Target="../media/image35.svg"/><Relationship Id="rId9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651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8" imgW="572" imgH="588" progId="TCLayout.ActiveDocument.1">
                  <p:embed/>
                </p:oleObj>
              </mc:Choice>
              <mc:Fallback>
                <p:oleObj name="think-cell Slide" r:id="rId8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4400" b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0F8DD7FE-65B0-4F59-A253-F81149246C0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10"/>
          <a:srcRect t="374" b="374"/>
          <a:stretch/>
        </p:blipFill>
        <p:spPr>
          <a:xfrm>
            <a:off x="10146555" y="308272"/>
            <a:ext cx="1889327" cy="969264"/>
          </a:xfrm>
        </p:spPr>
      </p:pic>
      <p:sp>
        <p:nvSpPr>
          <p:cNvPr id="6" name="Documenttype">
            <a:extLst>
              <a:ext uri="{FF2B5EF4-FFF2-40B4-BE49-F238E27FC236}">
                <a16:creationId xmlns:a16="http://schemas.microsoft.com/office/drawing/2014/main" id="{BDF11B44-10F6-4D48-914B-7180BB4C2591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54736" y="5993277"/>
            <a:ext cx="6016752" cy="215444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fr-FR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26/11/21</a:t>
            </a:r>
            <a:endParaRPr lang="fr-FR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83763173-01A6-4F82-AC6E-8ECBBD3516B6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5575668"/>
            <a:ext cx="6016752" cy="307777"/>
          </a:xfrm>
        </p:spPr>
        <p:txBody>
          <a:bodyPr/>
          <a:lstStyle/>
          <a:p>
            <a:r>
              <a:rPr lang="en-US">
                <a:latin typeface="Segoe UI Emoji" panose="020B0502040204020203" pitchFamily="34" charset="0"/>
                <a:ea typeface="Segoe UI Emoji" panose="020B0502040204020203" pitchFamily="34" charset="0"/>
              </a:rPr>
              <a:t>CentraleSupélec – Groupe 12</a:t>
            </a:r>
            <a:endParaRPr lang="fr-FR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4967709" cy="1921708"/>
          </a:xfrm>
        </p:spPr>
        <p:txBody>
          <a:bodyPr>
            <a:normAutofit/>
          </a:bodyPr>
          <a:lstStyle/>
          <a:p>
            <a:r>
              <a:rPr lang="fr-FR">
                <a:latin typeface="Segoe UI Emoji" panose="020B0502040204020203" pitchFamily="34" charset="0"/>
                <a:ea typeface="Segoe UI Emoji" panose="020B0502040204020203" pitchFamily="34" charset="0"/>
              </a:rPr>
              <a:t>La Poste Durable</a:t>
            </a:r>
            <a:br>
              <a:rPr lang="fr-FR">
                <a:latin typeface="Segoe UI Emoji" panose="020B0502040204020203" pitchFamily="34" charset="0"/>
                <a:ea typeface="Segoe UI Emoji" panose="020B0502040204020203" pitchFamily="34" charset="0"/>
              </a:rPr>
            </a:br>
            <a:r>
              <a:rPr lang="fr-FR" sz="2800">
                <a:latin typeface="Segoe UI Emoji" panose="020B0502040204020203" pitchFamily="34" charset="0"/>
                <a:ea typeface="Segoe UI Emoji" panose="020B0502040204020203" pitchFamily="34" charset="0"/>
              </a:rPr>
              <a:t>Réduction des émissions de CO</a:t>
            </a:r>
            <a:r>
              <a:rPr lang="fr-FR" sz="2800" baseline="-25000">
                <a:latin typeface="Segoe UI Emoji" panose="020B0502040204020203" pitchFamily="34" charset="0"/>
                <a:ea typeface="Segoe UI Emoji" panose="020B0502040204020203" pitchFamily="34" charset="0"/>
              </a:rPr>
              <a:t>2</a:t>
            </a:r>
            <a:r>
              <a:rPr lang="fr-FR" sz="2800">
                <a:latin typeface="Segoe UI Emoji" panose="020B0502040204020203" pitchFamily="34" charset="0"/>
                <a:ea typeface="Segoe UI Emoji" panose="020B0502040204020203" pitchFamily="34" charset="0"/>
              </a:rPr>
              <a:t> dues au transport de colis</a:t>
            </a:r>
            <a:endParaRPr lang="fr-FR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pic>
        <p:nvPicPr>
          <p:cNvPr id="35843" name="Picture 3" descr="Ekimetrics logo">
            <a:extLst>
              <a:ext uri="{FF2B5EF4-FFF2-40B4-BE49-F238E27FC236}">
                <a16:creationId xmlns:a16="http://schemas.microsoft.com/office/drawing/2014/main" id="{9227EA83-AB77-394C-BC49-1F919648A2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42" y="563778"/>
            <a:ext cx="3264727" cy="458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boîtes sur la courroie de convoyeur - livraison photos et images de collection">
            <a:extLst>
              <a:ext uri="{FF2B5EF4-FFF2-40B4-BE49-F238E27FC236}">
                <a16:creationId xmlns:a16="http://schemas.microsoft.com/office/drawing/2014/main" id="{E21F7212-59A4-6142-9B46-54619E9BB8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113" y="1363704"/>
            <a:ext cx="6195887" cy="4130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014EF99-53C9-1A40-9208-0EC77863E9F5}"/>
              </a:ext>
            </a:extLst>
          </p:cNvPr>
          <p:cNvSpPr txBox="1"/>
          <p:nvPr/>
        </p:nvSpPr>
        <p:spPr>
          <a:xfrm>
            <a:off x="551942" y="6196176"/>
            <a:ext cx="12290027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>
            <a:spAutoFit/>
          </a:bodyPr>
          <a:lstStyle/>
          <a:p>
            <a:r>
              <a:rPr lang="en-GB" b="0" i="0" u="none" strike="noStrike">
                <a:effectLst/>
                <a:latin typeface="Segoe UI Emoji" panose="020B0502040204020203" pitchFamily="34" charset="0"/>
                <a:ea typeface="Segoe UI Emoji" panose="020B0502040204020203" pitchFamily="34" charset="0"/>
              </a:rPr>
              <a:t>Pauline </a:t>
            </a:r>
            <a:r>
              <a:rPr lang="en-GB" b="0" i="0" u="none" strike="noStrike" err="1">
                <a:effectLst/>
                <a:latin typeface="Segoe UI Emoji" panose="020B0502040204020203" pitchFamily="34" charset="0"/>
                <a:ea typeface="Segoe UI Emoji" panose="020B0502040204020203" pitchFamily="34" charset="0"/>
              </a:rPr>
              <a:t>Berberi</a:t>
            </a:r>
            <a:r>
              <a:rPr lang="en-GB" b="0" i="0" u="none" strike="noStrike">
                <a:effectLst/>
                <a:latin typeface="Segoe UI Emoji" panose="020B0502040204020203" pitchFamily="34" charset="0"/>
                <a:ea typeface="Segoe UI Emoji" panose="020B0502040204020203" pitchFamily="34" charset="0"/>
              </a:rPr>
              <a:t> – Justin </a:t>
            </a:r>
            <a:r>
              <a:rPr lang="en-GB" b="0" i="0" u="none" strike="noStrike" err="1">
                <a:effectLst/>
                <a:latin typeface="Segoe UI Emoji" panose="020B0502040204020203" pitchFamily="34" charset="0"/>
                <a:ea typeface="Segoe UI Emoji" panose="020B0502040204020203" pitchFamily="34" charset="0"/>
              </a:rPr>
              <a:t>Bouteiller</a:t>
            </a:r>
            <a:r>
              <a:rPr lang="en-GB" b="0" i="0" u="none" strike="noStrike">
                <a:effectLst/>
                <a:latin typeface="Segoe UI Emoji" panose="020B0502040204020203" pitchFamily="34" charset="0"/>
                <a:ea typeface="Segoe UI Emoji" panose="020B0502040204020203" pitchFamily="34" charset="0"/>
              </a:rPr>
              <a:t> – Dimitri </a:t>
            </a:r>
            <a:r>
              <a:rPr lang="en-GB" b="0" i="0" u="none" strike="noStrike" err="1">
                <a:effectLst/>
                <a:latin typeface="Segoe UI Emoji" panose="020B0502040204020203" pitchFamily="34" charset="0"/>
                <a:ea typeface="Segoe UI Emoji" panose="020B0502040204020203" pitchFamily="34" charset="0"/>
              </a:rPr>
              <a:t>Diximus</a:t>
            </a:r>
            <a:r>
              <a:rPr lang="en-GB" b="0" i="0" u="none" strike="noStrike">
                <a:effectLst/>
                <a:latin typeface="Segoe UI Emoji" panose="020B0502040204020203" pitchFamily="34" charset="0"/>
                <a:ea typeface="Segoe UI Emoji" panose="020B0502040204020203" pitchFamily="34" charset="0"/>
              </a:rPr>
              <a:t> – Hugo </a:t>
            </a:r>
            <a:r>
              <a:rPr lang="en-GB" b="0" i="0" u="none" strike="noStrike" err="1">
                <a:effectLst/>
                <a:latin typeface="Segoe UI Emoji" panose="020B0502040204020203" pitchFamily="34" charset="0"/>
                <a:ea typeface="Segoe UI Emoji" panose="020B0502040204020203" pitchFamily="34" charset="0"/>
              </a:rPr>
              <a:t>Drieux</a:t>
            </a:r>
            <a:r>
              <a:rPr lang="en-GB" b="0" i="0" u="none" strike="noStrike">
                <a:effectLst/>
                <a:latin typeface="Segoe UI Emoji" panose="020B0502040204020203" pitchFamily="34" charset="0"/>
                <a:ea typeface="Segoe UI Emoji" panose="020B0502040204020203" pitchFamily="34" charset="0"/>
              </a:rPr>
              <a:t> – Geoffroy Gallean </a:t>
            </a:r>
            <a:r>
              <a:rPr lang="en-GB" b="0" i="0">
                <a:effectLst/>
                <a:latin typeface="Segoe UI Emoji" panose="020B0502040204020203" pitchFamily="34" charset="0"/>
                <a:ea typeface="Segoe UI Emoji" panose="020B0502040204020203" pitchFamily="34" charset="0"/>
              </a:rPr>
              <a:t>​</a:t>
            </a:r>
            <a:endParaRPr lang="en-GB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F5957F1-4848-5D4C-83D4-6091BF4C2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latin typeface="Segoe UI Emoji"/>
                <a:ea typeface="Segoe UI Emoji"/>
              </a:rPr>
              <a:t>Matrice Faisabilité | Trois opportunités de réduction des émissions se dégagent à court, moyen et long term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88C3BA1-757B-2547-9150-8BCB7FB0320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AB1BD60-D272-CB47-ACF0-968A17B37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912B0A43-E27E-1946-B76A-A8BF73A465CF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/>
              <a:t>Source : Donnée client, Analyse </a:t>
            </a:r>
            <a:r>
              <a:rPr lang="fr-FR" sz="900" err="1"/>
              <a:t>CentraleSupélec</a:t>
            </a:r>
            <a:endParaRPr lang="fr-FR" sz="900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E9645456-7C8B-C14C-BFE1-6FA4CC101DFB}"/>
              </a:ext>
            </a:extLst>
          </p:cNvPr>
          <p:cNvGrpSpPr/>
          <p:nvPr/>
        </p:nvGrpSpPr>
        <p:grpSpPr>
          <a:xfrm>
            <a:off x="772884" y="1349829"/>
            <a:ext cx="8294916" cy="4880977"/>
            <a:chOff x="772884" y="1349829"/>
            <a:chExt cx="8294916" cy="4880977"/>
          </a:xfrm>
        </p:grpSpPr>
        <p:sp>
          <p:nvSpPr>
            <p:cNvPr id="7" name="Rectangle : avec coin arrondi 6">
              <a:extLst>
                <a:ext uri="{FF2B5EF4-FFF2-40B4-BE49-F238E27FC236}">
                  <a16:creationId xmlns:a16="http://schemas.microsoft.com/office/drawing/2014/main" id="{6A2E2F33-AD82-AB48-959B-6AADE79429AB}"/>
                </a:ext>
              </a:extLst>
            </p:cNvPr>
            <p:cNvSpPr/>
            <p:nvPr/>
          </p:nvSpPr>
          <p:spPr>
            <a:xfrm rot="16200000">
              <a:off x="1628592" y="607517"/>
              <a:ext cx="2383791" cy="4095205"/>
            </a:xfrm>
            <a:prstGeom prst="round1Rect">
              <a:avLst/>
            </a:prstGeom>
            <a:solidFill>
              <a:schemeClr val="bg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Rectangle : avec coin arrondi 7">
              <a:extLst>
                <a:ext uri="{FF2B5EF4-FFF2-40B4-BE49-F238E27FC236}">
                  <a16:creationId xmlns:a16="http://schemas.microsoft.com/office/drawing/2014/main" id="{465C870D-7896-5845-8873-CD7C36DF03DD}"/>
                </a:ext>
              </a:extLst>
            </p:cNvPr>
            <p:cNvSpPr/>
            <p:nvPr/>
          </p:nvSpPr>
          <p:spPr>
            <a:xfrm>
              <a:off x="4868091" y="1463223"/>
              <a:ext cx="4095205" cy="2383791"/>
            </a:xfrm>
            <a:prstGeom prst="round1Rect">
              <a:avLst/>
            </a:prstGeom>
            <a:solidFill>
              <a:schemeClr val="bg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Rectangle : avec coin arrondi 8">
              <a:extLst>
                <a:ext uri="{FF2B5EF4-FFF2-40B4-BE49-F238E27FC236}">
                  <a16:creationId xmlns:a16="http://schemas.microsoft.com/office/drawing/2014/main" id="{4B371647-949D-134F-9F4F-40AE1518B00A}"/>
                </a:ext>
              </a:extLst>
            </p:cNvPr>
            <p:cNvSpPr/>
            <p:nvPr/>
          </p:nvSpPr>
          <p:spPr>
            <a:xfrm rot="10800000">
              <a:off x="772886" y="3847014"/>
              <a:ext cx="4095205" cy="2383791"/>
            </a:xfrm>
            <a:prstGeom prst="round1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ctangle : avec coin arrondi 9">
              <a:extLst>
                <a:ext uri="{FF2B5EF4-FFF2-40B4-BE49-F238E27FC236}">
                  <a16:creationId xmlns:a16="http://schemas.microsoft.com/office/drawing/2014/main" id="{E3A90B5E-AEEB-6445-AB12-75AFB939174C}"/>
                </a:ext>
              </a:extLst>
            </p:cNvPr>
            <p:cNvSpPr/>
            <p:nvPr/>
          </p:nvSpPr>
          <p:spPr>
            <a:xfrm rot="5400000">
              <a:off x="5723798" y="2991307"/>
              <a:ext cx="2383791" cy="4095205"/>
            </a:xfrm>
            <a:prstGeom prst="round1Rect">
              <a:avLst/>
            </a:prstGeom>
            <a:solidFill>
              <a:schemeClr val="bg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cxnSp>
          <p:nvCxnSpPr>
            <p:cNvPr id="12" name="Connecteur droit avec flèche 11">
              <a:extLst>
                <a:ext uri="{FF2B5EF4-FFF2-40B4-BE49-F238E27FC236}">
                  <a16:creationId xmlns:a16="http://schemas.microsoft.com/office/drawing/2014/main" id="{D87AF4B7-E653-1A41-8DD7-1937FDD0FA89}"/>
                </a:ext>
              </a:extLst>
            </p:cNvPr>
            <p:cNvCxnSpPr>
              <a:cxnSpLocks/>
            </p:cNvCxnSpPr>
            <p:nvPr/>
          </p:nvCxnSpPr>
          <p:spPr>
            <a:xfrm>
              <a:off x="772884" y="3847014"/>
              <a:ext cx="8294916" cy="0"/>
            </a:xfrm>
            <a:prstGeom prst="straightConnector1">
              <a:avLst/>
            </a:prstGeom>
            <a:ln w="38100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avec flèche 14">
              <a:extLst>
                <a:ext uri="{FF2B5EF4-FFF2-40B4-BE49-F238E27FC236}">
                  <a16:creationId xmlns:a16="http://schemas.microsoft.com/office/drawing/2014/main" id="{3D3DC50C-9C8C-1044-9ABE-8F042C900E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68090" y="1349829"/>
              <a:ext cx="0" cy="4880977"/>
            </a:xfrm>
            <a:prstGeom prst="straightConnector1">
              <a:avLst/>
            </a:prstGeom>
            <a:ln w="38100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6F92FAD2-7292-0A4B-A1F3-51489A9C4FD8}"/>
              </a:ext>
            </a:extLst>
          </p:cNvPr>
          <p:cNvSpPr/>
          <p:nvPr/>
        </p:nvSpPr>
        <p:spPr>
          <a:xfrm>
            <a:off x="1058093" y="2378431"/>
            <a:ext cx="1338506" cy="632555"/>
          </a:xfrm>
          <a:prstGeom prst="round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200">
                <a:solidFill>
                  <a:schemeClr val="bg1"/>
                </a:solidFill>
              </a:rPr>
              <a:t>Nouveaux moyens de transport</a:t>
            </a: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9510433D-F5B5-A04F-ACB4-94C13C4569DA}"/>
              </a:ext>
            </a:extLst>
          </p:cNvPr>
          <p:cNvSpPr/>
          <p:nvPr/>
        </p:nvSpPr>
        <p:spPr>
          <a:xfrm>
            <a:off x="2628465" y="5078499"/>
            <a:ext cx="1338506" cy="632555"/>
          </a:xfrm>
          <a:prstGeom prst="round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200">
                <a:solidFill>
                  <a:schemeClr val="bg1"/>
                </a:solidFill>
              </a:rPr>
              <a:t>Capacité stockage camion</a:t>
            </a:r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4B62DEF8-2D7A-A34F-8CE7-6311ED3B2035}"/>
              </a:ext>
            </a:extLst>
          </p:cNvPr>
          <p:cNvSpPr/>
          <p:nvPr/>
        </p:nvSpPr>
        <p:spPr>
          <a:xfrm>
            <a:off x="2628465" y="1567571"/>
            <a:ext cx="1338506" cy="632555"/>
          </a:xfrm>
          <a:prstGeom prst="roundRect">
            <a:avLst/>
          </a:prstGeom>
          <a:solidFill>
            <a:srgbClr val="50848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200">
                <a:solidFill>
                  <a:schemeClr val="bg1"/>
                </a:solidFill>
              </a:rPr>
              <a:t>Performance énergétique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1FAB32E8-4EBF-4547-A5DB-119734F7EC56}"/>
              </a:ext>
            </a:extLst>
          </p:cNvPr>
          <p:cNvSpPr/>
          <p:nvPr/>
        </p:nvSpPr>
        <p:spPr>
          <a:xfrm>
            <a:off x="5254642" y="2796445"/>
            <a:ext cx="1338506" cy="632555"/>
          </a:xfrm>
          <a:prstGeom prst="roundRect">
            <a:avLst/>
          </a:prstGeom>
          <a:solidFill>
            <a:srgbClr val="FAA08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200">
                <a:solidFill>
                  <a:schemeClr val="bg1"/>
                </a:solidFill>
              </a:rPr>
              <a:t>Emplacement WH</a:t>
            </a:r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ED3FF3A4-B6D3-854E-ACC9-AD3DDAC8EE28}"/>
              </a:ext>
            </a:extLst>
          </p:cNvPr>
          <p:cNvSpPr/>
          <p:nvPr/>
        </p:nvSpPr>
        <p:spPr>
          <a:xfrm>
            <a:off x="7392923" y="5122235"/>
            <a:ext cx="1146914" cy="632555"/>
          </a:xfrm>
          <a:prstGeom prst="roundRect">
            <a:avLst/>
          </a:prstGeom>
          <a:solidFill>
            <a:srgbClr val="FAA08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200">
                <a:solidFill>
                  <a:schemeClr val="bg1"/>
                </a:solidFill>
              </a:rPr>
              <a:t>Allocation camion/WH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664EC1D7-0561-2E42-8399-A20D0B3D6228}"/>
              </a:ext>
            </a:extLst>
          </p:cNvPr>
          <p:cNvSpPr/>
          <p:nvPr/>
        </p:nvSpPr>
        <p:spPr>
          <a:xfrm>
            <a:off x="7745866" y="2486227"/>
            <a:ext cx="1089816" cy="632555"/>
          </a:xfrm>
          <a:prstGeom prst="roundRect">
            <a:avLst/>
          </a:prstGeom>
          <a:solidFill>
            <a:srgbClr val="00B0F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200">
                <a:solidFill>
                  <a:schemeClr val="bg1"/>
                </a:solidFill>
              </a:rPr>
              <a:t>Choix itinéraire</a:t>
            </a:r>
          </a:p>
        </p:txBody>
      </p:sp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54E004E7-9AD1-2B48-932C-3D6572AFEEE4}"/>
              </a:ext>
            </a:extLst>
          </p:cNvPr>
          <p:cNvSpPr/>
          <p:nvPr/>
        </p:nvSpPr>
        <p:spPr>
          <a:xfrm>
            <a:off x="7750004" y="3152523"/>
            <a:ext cx="1089817" cy="632555"/>
          </a:xfrm>
          <a:prstGeom prst="roundRect">
            <a:avLst/>
          </a:prstGeom>
          <a:solidFill>
            <a:srgbClr val="00B0F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200">
                <a:solidFill>
                  <a:schemeClr val="bg1"/>
                </a:solidFill>
              </a:rPr>
              <a:t>Allocation colis/camion</a:t>
            </a: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FB4CCE4C-7FEB-7340-95CD-312CCFE027B0}"/>
              </a:ext>
            </a:extLst>
          </p:cNvPr>
          <p:cNvSpPr/>
          <p:nvPr/>
        </p:nvSpPr>
        <p:spPr>
          <a:xfrm>
            <a:off x="6820771" y="2796444"/>
            <a:ext cx="1098585" cy="632556"/>
          </a:xfrm>
          <a:prstGeom prst="roundRect">
            <a:avLst/>
          </a:prstGeom>
          <a:solidFill>
            <a:srgbClr val="00B0F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200">
                <a:solidFill>
                  <a:schemeClr val="bg1"/>
                </a:solidFill>
              </a:rPr>
              <a:t>Choix destination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9DDBE5A5-C9BC-8F45-99A0-33B2C6152D13}"/>
              </a:ext>
            </a:extLst>
          </p:cNvPr>
          <p:cNvSpPr txBox="1"/>
          <p:nvPr/>
        </p:nvSpPr>
        <p:spPr>
          <a:xfrm>
            <a:off x="8141423" y="3887255"/>
            <a:ext cx="821873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600" b="1">
                <a:latin typeface="Segoe UI Emoji"/>
                <a:ea typeface="Segoe UI Emoji"/>
              </a:rPr>
              <a:t>Faisable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737C4EEE-79F0-5B46-9781-3C75E77A2135}"/>
              </a:ext>
            </a:extLst>
          </p:cNvPr>
          <p:cNvSpPr txBox="1"/>
          <p:nvPr/>
        </p:nvSpPr>
        <p:spPr>
          <a:xfrm>
            <a:off x="838193" y="3887255"/>
            <a:ext cx="821873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600" b="1">
                <a:latin typeface="Segoe UI Emoji"/>
                <a:ea typeface="Segoe UI Emoji"/>
              </a:rPr>
              <a:t>Difficile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C015434D-A19F-5644-80D0-1BF8E9F59A0E}"/>
              </a:ext>
            </a:extLst>
          </p:cNvPr>
          <p:cNvSpPr txBox="1"/>
          <p:nvPr/>
        </p:nvSpPr>
        <p:spPr>
          <a:xfrm>
            <a:off x="4947336" y="1557020"/>
            <a:ext cx="821873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600" b="1">
                <a:latin typeface="Segoe UI Emoji"/>
                <a:ea typeface="Segoe UI Emoji"/>
              </a:rPr>
              <a:t>Fort impact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A81EFC1-999D-CB47-9AAF-D24AE7DCE6F9}"/>
              </a:ext>
            </a:extLst>
          </p:cNvPr>
          <p:cNvSpPr txBox="1"/>
          <p:nvPr/>
        </p:nvSpPr>
        <p:spPr>
          <a:xfrm>
            <a:off x="4966056" y="5921603"/>
            <a:ext cx="821873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600" b="1">
                <a:latin typeface="Segoe UI Emoji"/>
                <a:ea typeface="Segoe UI Emoji"/>
              </a:rPr>
              <a:t>Faible impact</a:t>
            </a:r>
          </a:p>
        </p:txBody>
      </p: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85EE5A5F-947B-2546-8E7A-3AD4AE39934E}"/>
              </a:ext>
            </a:extLst>
          </p:cNvPr>
          <p:cNvGrpSpPr/>
          <p:nvPr/>
        </p:nvGrpSpPr>
        <p:grpSpPr>
          <a:xfrm>
            <a:off x="9974853" y="2098431"/>
            <a:ext cx="1089816" cy="3495723"/>
            <a:chOff x="9760777" y="1891379"/>
            <a:chExt cx="1089816" cy="3495723"/>
          </a:xfrm>
        </p:grpSpPr>
        <p:sp>
          <p:nvSpPr>
            <p:cNvPr id="35" name="Rectangle : coins arrondis 34">
              <a:extLst>
                <a:ext uri="{FF2B5EF4-FFF2-40B4-BE49-F238E27FC236}">
                  <a16:creationId xmlns:a16="http://schemas.microsoft.com/office/drawing/2014/main" id="{839B7B09-4A62-2F4A-B8D2-7D7397808A23}"/>
                </a:ext>
              </a:extLst>
            </p:cNvPr>
            <p:cNvSpPr/>
            <p:nvPr/>
          </p:nvSpPr>
          <p:spPr>
            <a:xfrm>
              <a:off x="9760777" y="2384463"/>
              <a:ext cx="1089816" cy="632555"/>
            </a:xfrm>
            <a:prstGeom prst="roundRect">
              <a:avLst/>
            </a:prstGeom>
            <a:solidFill>
              <a:srgbClr val="00B0F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fr-FR" sz="1200">
                  <a:solidFill>
                    <a:schemeClr val="bg1"/>
                  </a:solidFill>
                </a:rPr>
                <a:t>Court terme</a:t>
              </a:r>
            </a:p>
          </p:txBody>
        </p:sp>
        <p:sp>
          <p:nvSpPr>
            <p:cNvPr id="36" name="Rectangle : coins arrondis 35">
              <a:extLst>
                <a:ext uri="{FF2B5EF4-FFF2-40B4-BE49-F238E27FC236}">
                  <a16:creationId xmlns:a16="http://schemas.microsoft.com/office/drawing/2014/main" id="{8C9BA6C9-FD7B-CD43-84AF-366105F786B3}"/>
                </a:ext>
              </a:extLst>
            </p:cNvPr>
            <p:cNvSpPr/>
            <p:nvPr/>
          </p:nvSpPr>
          <p:spPr>
            <a:xfrm>
              <a:off x="9760777" y="3174491"/>
              <a:ext cx="1089816" cy="632555"/>
            </a:xfrm>
            <a:prstGeom prst="roundRect">
              <a:avLst/>
            </a:prstGeom>
            <a:solidFill>
              <a:srgbClr val="FAA08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fr-FR" sz="1200">
                  <a:solidFill>
                    <a:schemeClr val="bg1"/>
                  </a:solidFill>
                </a:rPr>
                <a:t>Moyen terme</a:t>
              </a:r>
            </a:p>
          </p:txBody>
        </p:sp>
        <p:sp>
          <p:nvSpPr>
            <p:cNvPr id="37" name="Rectangle : coins arrondis 36">
              <a:extLst>
                <a:ext uri="{FF2B5EF4-FFF2-40B4-BE49-F238E27FC236}">
                  <a16:creationId xmlns:a16="http://schemas.microsoft.com/office/drawing/2014/main" id="{607055EB-44C9-6B4D-969B-D7EBE1A6DA28}"/>
                </a:ext>
              </a:extLst>
            </p:cNvPr>
            <p:cNvSpPr/>
            <p:nvPr/>
          </p:nvSpPr>
          <p:spPr>
            <a:xfrm>
              <a:off x="9760777" y="3964519"/>
              <a:ext cx="1089816" cy="632555"/>
            </a:xfrm>
            <a:prstGeom prst="roundRect">
              <a:avLst/>
            </a:prstGeom>
            <a:solidFill>
              <a:srgbClr val="50848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fr-FR" sz="1200">
                  <a:solidFill>
                    <a:schemeClr val="bg1"/>
                  </a:solidFill>
                </a:rPr>
                <a:t>Long terme</a:t>
              </a:r>
            </a:p>
          </p:txBody>
        </p:sp>
        <p:sp>
          <p:nvSpPr>
            <p:cNvPr id="38" name="Rectangle : coins arrondis 37">
              <a:extLst>
                <a:ext uri="{FF2B5EF4-FFF2-40B4-BE49-F238E27FC236}">
                  <a16:creationId xmlns:a16="http://schemas.microsoft.com/office/drawing/2014/main" id="{0A5E6B99-5607-294B-B95F-B9B9BA4B9E70}"/>
                </a:ext>
              </a:extLst>
            </p:cNvPr>
            <p:cNvSpPr/>
            <p:nvPr/>
          </p:nvSpPr>
          <p:spPr>
            <a:xfrm>
              <a:off x="9760777" y="4754547"/>
              <a:ext cx="1089816" cy="632555"/>
            </a:xfrm>
            <a:prstGeom prst="roundRect">
              <a:avLst/>
            </a:prstGeom>
            <a:solidFill>
              <a:srgbClr val="051C2C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fr-FR" sz="1200">
                  <a:solidFill>
                    <a:schemeClr val="bg1"/>
                  </a:solidFill>
                </a:rPr>
                <a:t>Ecarté</a:t>
              </a:r>
            </a:p>
          </p:txBody>
        </p:sp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BF38EEAB-4B87-2041-9888-B5B91DAD1B71}"/>
                </a:ext>
              </a:extLst>
            </p:cNvPr>
            <p:cNvSpPr txBox="1"/>
            <p:nvPr/>
          </p:nvSpPr>
          <p:spPr>
            <a:xfrm>
              <a:off x="9860603" y="1891379"/>
              <a:ext cx="890164" cy="354997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 anchor="t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fr-FR" sz="1600">
                  <a:latin typeface="Segoe UI Emoji"/>
                  <a:ea typeface="Segoe UI Emoji"/>
                </a:rPr>
                <a:t>Classification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2F99C7C9-E29D-1B47-AE52-C2F44C4EB580}"/>
              </a:ext>
            </a:extLst>
          </p:cNvPr>
          <p:cNvSpPr txBox="1"/>
          <p:nvPr/>
        </p:nvSpPr>
        <p:spPr>
          <a:xfrm>
            <a:off x="-522514" y="2416628"/>
            <a:ext cx="469224" cy="37981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160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99BB449-E55F-694C-A457-416DBCFD105C}"/>
              </a:ext>
            </a:extLst>
          </p:cNvPr>
          <p:cNvSpPr txBox="1"/>
          <p:nvPr/>
        </p:nvSpPr>
        <p:spPr>
          <a:xfrm>
            <a:off x="2689390" y="2581815"/>
            <a:ext cx="1821394" cy="73866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600" b="1">
                <a:solidFill>
                  <a:srgbClr val="508481"/>
                </a:solidFill>
              </a:rPr>
              <a:t>3. Optimiser l’émission par camion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B388F5C6-6688-3E4B-A254-BF042BAB2CB7}"/>
              </a:ext>
            </a:extLst>
          </p:cNvPr>
          <p:cNvSpPr txBox="1"/>
          <p:nvPr/>
        </p:nvSpPr>
        <p:spPr>
          <a:xfrm>
            <a:off x="7154308" y="1848773"/>
            <a:ext cx="1365196" cy="49244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600" b="1">
                <a:solidFill>
                  <a:srgbClr val="00A9F4"/>
                </a:solidFill>
              </a:rPr>
              <a:t>1. Optimiser le trajet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6CE520D5-D2DA-C644-9123-36D5B34A9E4B}"/>
              </a:ext>
            </a:extLst>
          </p:cNvPr>
          <p:cNvSpPr txBox="1"/>
          <p:nvPr/>
        </p:nvSpPr>
        <p:spPr>
          <a:xfrm>
            <a:off x="6130509" y="4298106"/>
            <a:ext cx="1570368" cy="73866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600" b="1">
                <a:solidFill>
                  <a:srgbClr val="FAA082"/>
                </a:solidFill>
              </a:rPr>
              <a:t>2. Optimiser le maillage logistique</a:t>
            </a:r>
          </a:p>
        </p:txBody>
      </p:sp>
      <p:cxnSp>
        <p:nvCxnSpPr>
          <p:cNvPr id="19" name="Connecteur en arc 18">
            <a:extLst>
              <a:ext uri="{FF2B5EF4-FFF2-40B4-BE49-F238E27FC236}">
                <a16:creationId xmlns:a16="http://schemas.microsoft.com/office/drawing/2014/main" id="{5C1F50C6-7698-F147-993A-1E18C197E7A7}"/>
              </a:ext>
            </a:extLst>
          </p:cNvPr>
          <p:cNvCxnSpPr>
            <a:cxnSpLocks/>
            <a:stCxn id="13" idx="0"/>
            <a:endCxn id="25" idx="2"/>
          </p:cNvCxnSpPr>
          <p:nvPr/>
        </p:nvCxnSpPr>
        <p:spPr>
          <a:xfrm rot="16200000" flipV="1">
            <a:off x="3258059" y="2239786"/>
            <a:ext cx="381689" cy="302369"/>
          </a:xfrm>
          <a:prstGeom prst="curvedConnector3">
            <a:avLst>
              <a:gd name="adj1" fmla="val 50000"/>
            </a:avLst>
          </a:prstGeom>
          <a:ln w="6350" cap="flat">
            <a:solidFill>
              <a:srgbClr val="50848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en arc 42">
            <a:extLst>
              <a:ext uri="{FF2B5EF4-FFF2-40B4-BE49-F238E27FC236}">
                <a16:creationId xmlns:a16="http://schemas.microsoft.com/office/drawing/2014/main" id="{21E56B63-6C41-A74E-A5C8-3F3B95A26C4C}"/>
              </a:ext>
            </a:extLst>
          </p:cNvPr>
          <p:cNvCxnSpPr>
            <a:cxnSpLocks/>
            <a:stCxn id="42" idx="2"/>
            <a:endCxn id="27" idx="1"/>
          </p:cNvCxnSpPr>
          <p:nvPr/>
        </p:nvCxnSpPr>
        <p:spPr>
          <a:xfrm rot="16200000" flipH="1">
            <a:off x="6953437" y="4999026"/>
            <a:ext cx="401743" cy="477230"/>
          </a:xfrm>
          <a:prstGeom prst="curvedConnector2">
            <a:avLst/>
          </a:prstGeom>
          <a:ln w="6350" cap="flat">
            <a:solidFill>
              <a:srgbClr val="FAA08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en arc 45">
            <a:extLst>
              <a:ext uri="{FF2B5EF4-FFF2-40B4-BE49-F238E27FC236}">
                <a16:creationId xmlns:a16="http://schemas.microsoft.com/office/drawing/2014/main" id="{B57C6C13-4781-764E-8D70-BC80C90A7BCE}"/>
              </a:ext>
            </a:extLst>
          </p:cNvPr>
          <p:cNvCxnSpPr>
            <a:cxnSpLocks/>
            <a:stCxn id="42" idx="1"/>
            <a:endCxn id="26" idx="2"/>
          </p:cNvCxnSpPr>
          <p:nvPr/>
        </p:nvCxnSpPr>
        <p:spPr>
          <a:xfrm rot="10800000">
            <a:off x="5923895" y="3429000"/>
            <a:ext cx="206614" cy="1238438"/>
          </a:xfrm>
          <a:prstGeom prst="curvedConnector2">
            <a:avLst/>
          </a:prstGeom>
          <a:ln w="6350" cap="flat">
            <a:solidFill>
              <a:srgbClr val="FAA08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en arc 45">
            <a:extLst>
              <a:ext uri="{FF2B5EF4-FFF2-40B4-BE49-F238E27FC236}">
                <a16:creationId xmlns:a16="http://schemas.microsoft.com/office/drawing/2014/main" id="{B3E16705-A88F-9A43-8BA5-4E103460D80D}"/>
              </a:ext>
            </a:extLst>
          </p:cNvPr>
          <p:cNvCxnSpPr>
            <a:cxnSpLocks/>
            <a:stCxn id="41" idx="2"/>
          </p:cNvCxnSpPr>
          <p:nvPr/>
        </p:nvCxnSpPr>
        <p:spPr>
          <a:xfrm rot="5400000">
            <a:off x="7387188" y="2342588"/>
            <a:ext cx="451091" cy="448347"/>
          </a:xfrm>
          <a:prstGeom prst="curvedConnector3">
            <a:avLst>
              <a:gd name="adj1" fmla="val 50000"/>
            </a:avLst>
          </a:prstGeom>
          <a:ln w="6350" cap="flat">
            <a:solidFill>
              <a:srgbClr val="00A9F4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en arc 45">
            <a:extLst>
              <a:ext uri="{FF2B5EF4-FFF2-40B4-BE49-F238E27FC236}">
                <a16:creationId xmlns:a16="http://schemas.microsoft.com/office/drawing/2014/main" id="{B0A2138C-2E21-B944-AA56-C24F6C1F5BF1}"/>
              </a:ext>
            </a:extLst>
          </p:cNvPr>
          <p:cNvCxnSpPr>
            <a:cxnSpLocks/>
            <a:stCxn id="41" idx="2"/>
          </p:cNvCxnSpPr>
          <p:nvPr/>
        </p:nvCxnSpPr>
        <p:spPr>
          <a:xfrm rot="16200000" flipH="1">
            <a:off x="7959924" y="2218197"/>
            <a:ext cx="111272" cy="357309"/>
          </a:xfrm>
          <a:prstGeom prst="curvedConnector2">
            <a:avLst/>
          </a:prstGeom>
          <a:ln w="6350" cap="flat">
            <a:solidFill>
              <a:srgbClr val="00A9F4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en arc 45">
            <a:extLst>
              <a:ext uri="{FF2B5EF4-FFF2-40B4-BE49-F238E27FC236}">
                <a16:creationId xmlns:a16="http://schemas.microsoft.com/office/drawing/2014/main" id="{4ADF3055-E5CD-F045-8EBB-354DC4FF7EBB}"/>
              </a:ext>
            </a:extLst>
          </p:cNvPr>
          <p:cNvCxnSpPr>
            <a:cxnSpLocks/>
            <a:endCxn id="30" idx="3"/>
          </p:cNvCxnSpPr>
          <p:nvPr/>
        </p:nvCxnSpPr>
        <p:spPr>
          <a:xfrm rot="16200000" flipH="1">
            <a:off x="7774571" y="2403551"/>
            <a:ext cx="1127586" cy="1002913"/>
          </a:xfrm>
          <a:prstGeom prst="curvedConnector4">
            <a:avLst>
              <a:gd name="adj1" fmla="val -4572"/>
              <a:gd name="adj2" fmla="val 122794"/>
            </a:avLst>
          </a:prstGeom>
          <a:ln w="6350" cap="flat">
            <a:solidFill>
              <a:srgbClr val="00A9F4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8689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F5957F1-4848-5D4C-83D4-6091BF4C2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latin typeface="Segoe UI Emoji" panose="020B0502040204020203" pitchFamily="34" charset="0"/>
                <a:ea typeface="Segoe UI Emoji" panose="020B0502040204020203" pitchFamily="34" charset="0"/>
              </a:rPr>
              <a:t>Plan d’action | LPD peut réduire son impact carbone facilement à court terme, puis lancer des initiatives à plus long terme tout en améliorant son modèle.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88C3BA1-757B-2547-9150-8BCB7FB0320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AB1BD60-D272-CB47-ACF0-968A17B37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912B0A43-E27E-1946-B76A-A8BF73A465CF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>
                <a:latin typeface="Segoe UI Emoji" panose="020B0502040204020203" pitchFamily="34" charset="0"/>
                <a:ea typeface="Segoe UI Emoji" panose="020B0502040204020203" pitchFamily="34" charset="0"/>
              </a:rPr>
              <a:t>Source : Donnée client, Analyse CentraleSupélec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85BAA21-40FB-2C46-BF97-4FC283025B40}"/>
              </a:ext>
            </a:extLst>
          </p:cNvPr>
          <p:cNvSpPr txBox="1"/>
          <p:nvPr/>
        </p:nvSpPr>
        <p:spPr>
          <a:xfrm>
            <a:off x="1168400" y="18542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16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DAF7CE0-F07D-1248-A348-6F4BBC8A1980}"/>
              </a:ext>
            </a:extLst>
          </p:cNvPr>
          <p:cNvGrpSpPr>
            <a:grpSpLocks noChangeAspect="1"/>
          </p:cNvGrpSpPr>
          <p:nvPr/>
        </p:nvGrpSpPr>
        <p:grpSpPr>
          <a:xfrm>
            <a:off x="-167950" y="4432091"/>
            <a:ext cx="12527899" cy="540000"/>
            <a:chOff x="-173610" y="4198776"/>
            <a:chExt cx="12764278" cy="895738"/>
          </a:xfrm>
        </p:grpSpPr>
        <p:sp>
          <p:nvSpPr>
            <p:cNvPr id="9" name="Trapezium 8">
              <a:extLst>
                <a:ext uri="{FF2B5EF4-FFF2-40B4-BE49-F238E27FC236}">
                  <a16:creationId xmlns:a16="http://schemas.microsoft.com/office/drawing/2014/main" id="{3A970E8D-BEF2-1849-BB56-9C3A342A6153}"/>
                </a:ext>
              </a:extLst>
            </p:cNvPr>
            <p:cNvSpPr/>
            <p:nvPr/>
          </p:nvSpPr>
          <p:spPr>
            <a:xfrm>
              <a:off x="-173610" y="4198776"/>
              <a:ext cx="12764278" cy="895738"/>
            </a:xfrm>
            <a:prstGeom prst="trapezoid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  <p:sp>
          <p:nvSpPr>
            <p:cNvPr id="10" name="Trapezium 9">
              <a:extLst>
                <a:ext uri="{FF2B5EF4-FFF2-40B4-BE49-F238E27FC236}">
                  <a16:creationId xmlns:a16="http://schemas.microsoft.com/office/drawing/2014/main" id="{A4EF746F-8797-0141-88B7-19CB5BAF00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8471" y="4592645"/>
              <a:ext cx="508031" cy="108000"/>
            </a:xfrm>
            <a:prstGeom prst="trapezoid">
              <a:avLst>
                <a:gd name="adj" fmla="val 25000"/>
              </a:avLst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  <p:sp>
          <p:nvSpPr>
            <p:cNvPr id="11" name="Trapezium 10">
              <a:extLst>
                <a:ext uri="{FF2B5EF4-FFF2-40B4-BE49-F238E27FC236}">
                  <a16:creationId xmlns:a16="http://schemas.microsoft.com/office/drawing/2014/main" id="{3187C35D-F3DA-BC40-943E-3E7D3E7E67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11066" y="4592645"/>
              <a:ext cx="508031" cy="108000"/>
            </a:xfrm>
            <a:prstGeom prst="trapezoid">
              <a:avLst>
                <a:gd name="adj" fmla="val 25000"/>
              </a:avLst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  <p:sp>
          <p:nvSpPr>
            <p:cNvPr id="12" name="Trapezium 11">
              <a:extLst>
                <a:ext uri="{FF2B5EF4-FFF2-40B4-BE49-F238E27FC236}">
                  <a16:creationId xmlns:a16="http://schemas.microsoft.com/office/drawing/2014/main" id="{89E43652-ABFC-5C46-9207-FDAA733F9C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13661" y="4592645"/>
              <a:ext cx="508031" cy="108000"/>
            </a:xfrm>
            <a:prstGeom prst="trapezoid">
              <a:avLst>
                <a:gd name="adj" fmla="val 25000"/>
              </a:avLst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  <p:sp>
          <p:nvSpPr>
            <p:cNvPr id="13" name="Trapezium 12">
              <a:extLst>
                <a:ext uri="{FF2B5EF4-FFF2-40B4-BE49-F238E27FC236}">
                  <a16:creationId xmlns:a16="http://schemas.microsoft.com/office/drawing/2014/main" id="{5916B1AE-4060-5C4E-BBCA-5A86C2F2EF1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16256" y="4592645"/>
              <a:ext cx="508031" cy="108000"/>
            </a:xfrm>
            <a:prstGeom prst="trapezoid">
              <a:avLst>
                <a:gd name="adj" fmla="val 25000"/>
              </a:avLst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  <p:sp>
          <p:nvSpPr>
            <p:cNvPr id="14" name="Trapezium 13">
              <a:extLst>
                <a:ext uri="{FF2B5EF4-FFF2-40B4-BE49-F238E27FC236}">
                  <a16:creationId xmlns:a16="http://schemas.microsoft.com/office/drawing/2014/main" id="{C5C3E1DD-94B1-7A4D-8B6F-827A386F38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18851" y="4592645"/>
              <a:ext cx="508031" cy="108000"/>
            </a:xfrm>
            <a:prstGeom prst="trapezoid">
              <a:avLst>
                <a:gd name="adj" fmla="val 25000"/>
              </a:avLst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  <p:sp>
          <p:nvSpPr>
            <p:cNvPr id="15" name="Trapezium 14">
              <a:extLst>
                <a:ext uri="{FF2B5EF4-FFF2-40B4-BE49-F238E27FC236}">
                  <a16:creationId xmlns:a16="http://schemas.microsoft.com/office/drawing/2014/main" id="{5572E022-E2DC-774A-9909-C21297658A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21446" y="4592645"/>
              <a:ext cx="508031" cy="108000"/>
            </a:xfrm>
            <a:prstGeom prst="trapezoid">
              <a:avLst>
                <a:gd name="adj" fmla="val 25000"/>
              </a:avLst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  <p:sp>
          <p:nvSpPr>
            <p:cNvPr id="16" name="Trapezium 15">
              <a:extLst>
                <a:ext uri="{FF2B5EF4-FFF2-40B4-BE49-F238E27FC236}">
                  <a16:creationId xmlns:a16="http://schemas.microsoft.com/office/drawing/2014/main" id="{305EBFA5-56EF-2F41-A002-DF9D60BBCB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24041" y="4592645"/>
              <a:ext cx="508031" cy="108000"/>
            </a:xfrm>
            <a:prstGeom prst="trapezoid">
              <a:avLst>
                <a:gd name="adj" fmla="val 25000"/>
              </a:avLst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  <p:sp>
          <p:nvSpPr>
            <p:cNvPr id="17" name="Trapezium 16">
              <a:extLst>
                <a:ext uri="{FF2B5EF4-FFF2-40B4-BE49-F238E27FC236}">
                  <a16:creationId xmlns:a16="http://schemas.microsoft.com/office/drawing/2014/main" id="{6150D729-1341-C44B-B3A5-6EAB012CE0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26636" y="4592645"/>
              <a:ext cx="508031" cy="108000"/>
            </a:xfrm>
            <a:prstGeom prst="trapezoid">
              <a:avLst>
                <a:gd name="adj" fmla="val 25000"/>
              </a:avLst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  <p:sp>
          <p:nvSpPr>
            <p:cNvPr id="18" name="Trapezium 17">
              <a:extLst>
                <a:ext uri="{FF2B5EF4-FFF2-40B4-BE49-F238E27FC236}">
                  <a16:creationId xmlns:a16="http://schemas.microsoft.com/office/drawing/2014/main" id="{860AD28E-E254-1342-B41F-53755BD73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129233" y="4592645"/>
              <a:ext cx="508031" cy="108000"/>
            </a:xfrm>
            <a:prstGeom prst="trapezoid">
              <a:avLst>
                <a:gd name="adj" fmla="val 25000"/>
              </a:avLst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</p:grpSp>
      <p:pic>
        <p:nvPicPr>
          <p:cNvPr id="21" name="Graphic 20" descr="Truck with solid fill">
            <a:extLst>
              <a:ext uri="{FF2B5EF4-FFF2-40B4-BE49-F238E27FC236}">
                <a16:creationId xmlns:a16="http://schemas.microsoft.com/office/drawing/2014/main" id="{72E3BAD9-0658-F146-AE72-BFF9919C0C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5946" y="3550091"/>
            <a:ext cx="1152000" cy="1152000"/>
          </a:xfrm>
          <a:prstGeom prst="rect">
            <a:avLst/>
          </a:prstGeom>
        </p:spPr>
      </p:pic>
      <p:pic>
        <p:nvPicPr>
          <p:cNvPr id="22" name="Graphic 21" descr="Truck with solid fill">
            <a:extLst>
              <a:ext uri="{FF2B5EF4-FFF2-40B4-BE49-F238E27FC236}">
                <a16:creationId xmlns:a16="http://schemas.microsoft.com/office/drawing/2014/main" id="{B84E6AA6-45A5-C742-BB55-244AE3926D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1529" y="3531131"/>
            <a:ext cx="1152000" cy="1152000"/>
          </a:xfrm>
          <a:prstGeom prst="rect">
            <a:avLst/>
          </a:prstGeom>
        </p:spPr>
      </p:pic>
      <p:pic>
        <p:nvPicPr>
          <p:cNvPr id="30" name="Graphic 29" descr="Treasure Map outline">
            <a:extLst>
              <a:ext uri="{FF2B5EF4-FFF2-40B4-BE49-F238E27FC236}">
                <a16:creationId xmlns:a16="http://schemas.microsoft.com/office/drawing/2014/main" id="{6E37EDF5-CEF9-FE4D-9FCE-7D271EC567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082553" y="3656603"/>
            <a:ext cx="914400" cy="914400"/>
          </a:xfrm>
          <a:prstGeom prst="rect">
            <a:avLst/>
          </a:prstGeom>
        </p:spPr>
      </p:pic>
      <p:pic>
        <p:nvPicPr>
          <p:cNvPr id="32" name="Graphic 31" descr="Warehouse with solid fill">
            <a:extLst>
              <a:ext uri="{FF2B5EF4-FFF2-40B4-BE49-F238E27FC236}">
                <a16:creationId xmlns:a16="http://schemas.microsoft.com/office/drawing/2014/main" id="{00B70AC4-AB75-A54F-AC23-7080AF1DB7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86430" y="3556386"/>
            <a:ext cx="914400" cy="9144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BA9AF538-CF17-1846-AEBA-D77A7BA09ADA}"/>
              </a:ext>
            </a:extLst>
          </p:cNvPr>
          <p:cNvSpPr txBox="1"/>
          <p:nvPr/>
        </p:nvSpPr>
        <p:spPr>
          <a:xfrm>
            <a:off x="1726957" y="5169159"/>
            <a:ext cx="2411289" cy="65237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>
                <a:latin typeface="Segoe UI Emoji" panose="020B0502040204020203" pitchFamily="34" charset="0"/>
                <a:ea typeface="Segoe UI Emoji" panose="020B0502040204020203" pitchFamily="34" charset="0"/>
              </a:rPr>
              <a:t>1. Optimisation des rout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38E362E-88E1-0D47-99CB-9FC68C399798}"/>
              </a:ext>
            </a:extLst>
          </p:cNvPr>
          <p:cNvSpPr txBox="1"/>
          <p:nvPr/>
        </p:nvSpPr>
        <p:spPr>
          <a:xfrm>
            <a:off x="5573049" y="5170842"/>
            <a:ext cx="2141162" cy="65237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>
                <a:latin typeface="Segoe UI Emoji" panose="020B0502040204020203" pitchFamily="34" charset="0"/>
                <a:ea typeface="Segoe UI Emoji" panose="020B0502040204020203" pitchFamily="34" charset="0"/>
              </a:rPr>
              <a:t>2. </a:t>
            </a:r>
            <a:r>
              <a:rPr lang="en-GB" err="1">
                <a:latin typeface="Segoe UI Emoji" panose="020B0502040204020203" pitchFamily="34" charset="0"/>
                <a:ea typeface="Segoe UI Emoji" panose="020B0502040204020203" pitchFamily="34" charset="0"/>
              </a:rPr>
              <a:t>Lancement</a:t>
            </a:r>
            <a:r>
              <a:rPr lang="en-GB">
                <a:latin typeface="Segoe UI Emoji" panose="020B0502040204020203" pitchFamily="34" charset="0"/>
                <a:ea typeface="Segoe UI Emoji" panose="020B0502040204020203" pitchFamily="34" charset="0"/>
              </a:rPr>
              <a:t> de entrepôt de Renn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67D13F0-0125-D947-BF21-D0AA7D1CE77B}"/>
              </a:ext>
            </a:extLst>
          </p:cNvPr>
          <p:cNvSpPr txBox="1"/>
          <p:nvPr/>
        </p:nvSpPr>
        <p:spPr>
          <a:xfrm>
            <a:off x="9397794" y="5192559"/>
            <a:ext cx="2239470" cy="65237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>
                <a:latin typeface="Segoe UI Emoji" panose="020B0502040204020203" pitchFamily="34" charset="0"/>
                <a:ea typeface="Segoe UI Emoji" panose="020B0502040204020203" pitchFamily="34" charset="0"/>
              </a:rPr>
              <a:t>3. </a:t>
            </a:r>
            <a:r>
              <a:rPr lang="en-GB" err="1">
                <a:latin typeface="Segoe UI Emoji" panose="020B0502040204020203" pitchFamily="34" charset="0"/>
                <a:ea typeface="Segoe UI Emoji" panose="020B0502040204020203" pitchFamily="34" charset="0"/>
              </a:rPr>
              <a:t>Renouvellement</a:t>
            </a:r>
            <a:r>
              <a:rPr lang="en-GB">
                <a:latin typeface="Segoe UI Emoji" panose="020B0502040204020203" pitchFamily="34" charset="0"/>
                <a:ea typeface="Segoe UI Emoji" panose="020B0502040204020203" pitchFamily="34" charset="0"/>
              </a:rPr>
              <a:t> </a:t>
            </a:r>
            <a:r>
              <a:rPr lang="en-GB" err="1">
                <a:latin typeface="Segoe UI Emoji" panose="020B0502040204020203" pitchFamily="34" charset="0"/>
                <a:ea typeface="Segoe UI Emoji" panose="020B0502040204020203" pitchFamily="34" charset="0"/>
              </a:rPr>
              <a:t>progressif</a:t>
            </a:r>
            <a:r>
              <a:rPr lang="en-GB">
                <a:latin typeface="Segoe UI Emoji" panose="020B0502040204020203" pitchFamily="34" charset="0"/>
                <a:ea typeface="Segoe UI Emoji" panose="020B0502040204020203" pitchFamily="34" charset="0"/>
              </a:rPr>
              <a:t> de la </a:t>
            </a:r>
            <a:r>
              <a:rPr lang="en-GB" err="1">
                <a:latin typeface="Segoe UI Emoji" panose="020B0502040204020203" pitchFamily="34" charset="0"/>
                <a:ea typeface="Segoe UI Emoji" panose="020B0502040204020203" pitchFamily="34" charset="0"/>
              </a:rPr>
              <a:t>flotte</a:t>
            </a:r>
            <a:endParaRPr lang="en-GB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431EEAC-5195-3A44-95F0-D61423C2EA5D}"/>
              </a:ext>
            </a:extLst>
          </p:cNvPr>
          <p:cNvSpPr>
            <a:spLocks noChangeAspect="1"/>
          </p:cNvSpPr>
          <p:nvPr/>
        </p:nvSpPr>
        <p:spPr>
          <a:xfrm>
            <a:off x="2373972" y="5730765"/>
            <a:ext cx="612000" cy="612000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40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-40%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4F293226-7D7A-2446-833C-91CC88E5378B}"/>
              </a:ext>
            </a:extLst>
          </p:cNvPr>
          <p:cNvSpPr>
            <a:spLocks noChangeAspect="1"/>
          </p:cNvSpPr>
          <p:nvPr/>
        </p:nvSpPr>
        <p:spPr>
          <a:xfrm>
            <a:off x="6337630" y="5730765"/>
            <a:ext cx="612000" cy="612000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40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-11%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ADA2682-9076-8841-A0E1-F12F8D5AC99A}"/>
              </a:ext>
            </a:extLst>
          </p:cNvPr>
          <p:cNvSpPr>
            <a:spLocks noChangeAspect="1"/>
          </p:cNvSpPr>
          <p:nvPr/>
        </p:nvSpPr>
        <p:spPr>
          <a:xfrm>
            <a:off x="10211529" y="5759405"/>
            <a:ext cx="612000" cy="612000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40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-30%</a:t>
            </a: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3B8EF285-C6C5-FA44-930D-2A3715F59C3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2256266"/>
              </p:ext>
            </p:extLst>
          </p:nvPr>
        </p:nvGraphicFramePr>
        <p:xfrm>
          <a:off x="558118" y="1305995"/>
          <a:ext cx="11077935" cy="2350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7060804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7DF0B6E-CB3B-BB4B-855C-DD174D67AB7C}"/>
              </a:ext>
            </a:extLst>
          </p:cNvPr>
          <p:cNvSpPr txBox="1"/>
          <p:nvPr/>
        </p:nvSpPr>
        <p:spPr>
          <a:xfrm>
            <a:off x="4170556" y="3122341"/>
            <a:ext cx="4181707" cy="149426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9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9FDDD3-AB8A-F246-85B0-D53FC63E5635}"/>
              </a:ext>
            </a:extLst>
          </p:cNvPr>
          <p:cNvSpPr txBox="1"/>
          <p:nvPr/>
        </p:nvSpPr>
        <p:spPr>
          <a:xfrm>
            <a:off x="3824868" y="2648414"/>
            <a:ext cx="4527395" cy="9478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5400" b="1">
                <a:latin typeface="Segoe UI Emoji" panose="020B0502040204020203" pitchFamily="34" charset="0"/>
                <a:ea typeface="Segoe UI Emoji" panose="020B0502040204020203" pitchFamily="34" charset="0"/>
              </a:rPr>
              <a:t>Merci</a:t>
            </a:r>
          </a:p>
        </p:txBody>
      </p:sp>
      <p:pic>
        <p:nvPicPr>
          <p:cNvPr id="6" name="Image 8">
            <a:extLst>
              <a:ext uri="{FF2B5EF4-FFF2-40B4-BE49-F238E27FC236}">
                <a16:creationId xmlns:a16="http://schemas.microsoft.com/office/drawing/2014/main" id="{FC9F11A1-B8D0-E441-96E9-F72117BB7F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74" b="374"/>
          <a:stretch/>
        </p:blipFill>
        <p:spPr>
          <a:xfrm>
            <a:off x="10103698" y="5825416"/>
            <a:ext cx="1889327" cy="969264"/>
          </a:xfrm>
          <a:prstGeom prst="rect">
            <a:avLst/>
          </a:prstGeom>
        </p:spPr>
      </p:pic>
      <p:pic>
        <p:nvPicPr>
          <p:cNvPr id="7" name="Picture 3" descr="Ekimetrics logo">
            <a:extLst>
              <a:ext uri="{FF2B5EF4-FFF2-40B4-BE49-F238E27FC236}">
                <a16:creationId xmlns:a16="http://schemas.microsoft.com/office/drawing/2014/main" id="{99C04228-1DE0-CE42-B096-C01DEF2EF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75" y="6080922"/>
            <a:ext cx="3264727" cy="458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93842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51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AF58543-FD6D-8746-9B4C-BF581C5B2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latin typeface="Segoe UI Emoji"/>
                <a:ea typeface="Segoe UI Emoji"/>
              </a:rPr>
              <a:t>Annexes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9C76051-51C7-2646-B155-AB23601A25F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4BD3B94-E782-A84E-81F5-B108C52D81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8784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F8A9DE9-F58F-44D9-8C51-FEBD70F86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ode réutilisable et industrialisabl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65D70A6-A1A5-4E3C-BB84-99C40FD691E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F3B025D-0315-45D2-AF21-E7285D619C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68C193-8C23-4B08-8195-11CB9C0ADE5D}"/>
              </a:ext>
            </a:extLst>
          </p:cNvPr>
          <p:cNvSpPr/>
          <p:nvPr/>
        </p:nvSpPr>
        <p:spPr>
          <a:xfrm>
            <a:off x="3355506" y="1608099"/>
            <a:ext cx="54809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/>
              <a:t>https://</a:t>
            </a:r>
            <a:r>
              <a:rPr lang="fr-FR" err="1"/>
              <a:t>github.com</a:t>
            </a:r>
            <a:r>
              <a:rPr lang="fr-FR"/>
              <a:t>/Pauline-25/Ekimetrics-Groupe-12</a:t>
            </a:r>
          </a:p>
        </p:txBody>
      </p:sp>
      <p:pic>
        <p:nvPicPr>
          <p:cNvPr id="26628" name="Picture 4">
            <a:extLst>
              <a:ext uri="{FF2B5EF4-FFF2-40B4-BE49-F238E27FC236}">
                <a16:creationId xmlns:a16="http://schemas.microsoft.com/office/drawing/2014/main" id="{7DA85FB9-941D-429E-88CC-655A13050D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170" y="4512334"/>
            <a:ext cx="1944094" cy="1944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17C05893-F396-C84E-8EE7-35DF4A1EA3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000" y="2076871"/>
            <a:ext cx="2540000" cy="2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05419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7C432-FCD9-7549-A3EB-A42496855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agnostic repartition des types de </a:t>
            </a:r>
            <a:r>
              <a:rPr lang="en-GB" dirty="0" err="1"/>
              <a:t>colis</a:t>
            </a:r>
            <a:r>
              <a:rPr lang="en-GB" dirty="0"/>
              <a:t> dans un camion</a:t>
            </a:r>
            <a:r>
              <a:rPr lang="en-GB"/>
              <a:t> </a:t>
            </a:r>
            <a:r>
              <a:rPr lang="en-GB" err="1"/>
              <a:t>avant</a:t>
            </a:r>
            <a:r>
              <a:rPr lang="en-GB"/>
              <a:t> et après </a:t>
            </a:r>
            <a:r>
              <a:rPr lang="en-GB" err="1"/>
              <a:t>l’optimisation</a:t>
            </a:r>
            <a:r>
              <a:rPr lang="en-GB"/>
              <a:t> des </a:t>
            </a:r>
            <a:r>
              <a:rPr lang="en-GB" err="1"/>
              <a:t>trajets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C28852-DD5F-D646-97DB-90F2FC6EE74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2BB4B7-6A22-4D45-9771-31562C0A41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E23DCD2-FDEB-DB44-A1E9-F7205875ED2C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>
                <a:latin typeface="Segoe UI Emoji" panose="020B0502040204020203" pitchFamily="34" charset="0"/>
                <a:ea typeface="Segoe UI Emoji" panose="020B0502040204020203" pitchFamily="34" charset="0"/>
              </a:rPr>
              <a:t>Source : Donnée client, Analyse </a:t>
            </a:r>
            <a:r>
              <a:rPr lang="fr-FR" sz="900" err="1">
                <a:latin typeface="Segoe UI Emoji" panose="020B0502040204020203" pitchFamily="34" charset="0"/>
                <a:ea typeface="Segoe UI Emoji" panose="020B0502040204020203" pitchFamily="34" charset="0"/>
              </a:rPr>
              <a:t>CentraleSupélec</a:t>
            </a:r>
            <a:endParaRPr lang="fr-FR" sz="9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2FDA054B-BF45-4B3B-99D3-552376D6A65D}"/>
              </a:ext>
            </a:extLst>
          </p:cNvPr>
          <p:cNvGrpSpPr/>
          <p:nvPr/>
        </p:nvGrpSpPr>
        <p:grpSpPr>
          <a:xfrm>
            <a:off x="515782" y="1863673"/>
            <a:ext cx="5412642" cy="4208780"/>
            <a:chOff x="515782" y="1863673"/>
            <a:chExt cx="5412642" cy="4208780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867C4B49-BA5F-40E5-B070-325DC3C50CA8}"/>
                </a:ext>
              </a:extLst>
            </p:cNvPr>
            <p:cNvGrpSpPr/>
            <p:nvPr/>
          </p:nvGrpSpPr>
          <p:grpSpPr>
            <a:xfrm>
              <a:off x="515782" y="1863673"/>
              <a:ext cx="5412642" cy="3185333"/>
              <a:chOff x="1149183" y="1838528"/>
              <a:chExt cx="7238696" cy="3528064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A95CB23A-3A98-4A76-A874-90193050DF67}"/>
                  </a:ext>
                </a:extLst>
              </p:cNvPr>
              <p:cNvGrpSpPr/>
              <p:nvPr/>
            </p:nvGrpSpPr>
            <p:grpSpPr>
              <a:xfrm>
                <a:off x="1164423" y="1838528"/>
                <a:ext cx="7223456" cy="3528064"/>
                <a:chOff x="1164423" y="1838528"/>
                <a:chExt cx="7223456" cy="3528064"/>
              </a:xfrm>
            </p:grpSpPr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DD066BD1-57AB-47F0-A3C1-1C0BF2B607B3}"/>
                    </a:ext>
                  </a:extLst>
                </p:cNvPr>
                <p:cNvSpPr/>
                <p:nvPr/>
              </p:nvSpPr>
              <p:spPr>
                <a:xfrm>
                  <a:off x="1164423" y="1838528"/>
                  <a:ext cx="5418121" cy="2986391"/>
                </a:xfrm>
                <a:prstGeom prst="rect">
                  <a:avLst/>
                </a:prstGeom>
                <a:ln w="57150"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fr-FR" sz="3600" err="1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6E07C9EA-EE03-4A5F-A4A1-2AC685D4B488}"/>
                    </a:ext>
                  </a:extLst>
                </p:cNvPr>
                <p:cNvCxnSpPr/>
                <p:nvPr/>
              </p:nvCxnSpPr>
              <p:spPr>
                <a:xfrm>
                  <a:off x="6598218" y="2694562"/>
                  <a:ext cx="767728" cy="0"/>
                </a:xfrm>
                <a:prstGeom prst="line">
                  <a:avLst/>
                </a:prstGeom>
                <a:ln w="57150">
                  <a:tailEnd type="non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EC034C25-8398-4F50-9590-0A9A55B9C0F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60746" y="2694562"/>
                  <a:ext cx="1027133" cy="1578335"/>
                </a:xfrm>
                <a:prstGeom prst="line">
                  <a:avLst/>
                </a:prstGeom>
                <a:ln w="57150">
                  <a:tailEnd type="non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B4E3B987-0B45-4354-82F4-8E82CD8401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386432" y="4263391"/>
                  <a:ext cx="0" cy="588198"/>
                </a:xfrm>
                <a:prstGeom prst="line">
                  <a:avLst/>
                </a:prstGeom>
                <a:ln w="57150">
                  <a:tailEnd type="non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C75B0A09-7DD0-474B-BE81-808F33EBA2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598218" y="4824919"/>
                  <a:ext cx="1788214" cy="0"/>
                </a:xfrm>
                <a:prstGeom prst="line">
                  <a:avLst/>
                </a:prstGeom>
                <a:ln w="57150">
                  <a:tailEnd type="non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216CBD6E-292F-4802-B5D6-36E5B9A81CC6}"/>
                    </a:ext>
                  </a:extLst>
                </p:cNvPr>
                <p:cNvSpPr/>
                <p:nvPr/>
              </p:nvSpPr>
              <p:spPr>
                <a:xfrm>
                  <a:off x="7053052" y="4689504"/>
                  <a:ext cx="733331" cy="677088"/>
                </a:xfrm>
                <a:prstGeom prst="ellipse">
                  <a:avLst/>
                </a:prstGeom>
                <a:solidFill>
                  <a:schemeClr val="bg1"/>
                </a:solidFill>
                <a:ln w="57150" cap="sq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fr-FR" sz="36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1FE3F5BB-E891-4F0B-B9E6-405CF439D3D4}"/>
                    </a:ext>
                  </a:extLst>
                </p:cNvPr>
                <p:cNvSpPr/>
                <p:nvPr/>
              </p:nvSpPr>
              <p:spPr>
                <a:xfrm>
                  <a:off x="1941668" y="4689503"/>
                  <a:ext cx="733331" cy="677088"/>
                </a:xfrm>
                <a:prstGeom prst="ellipse">
                  <a:avLst/>
                </a:prstGeom>
                <a:solidFill>
                  <a:schemeClr val="bg1"/>
                </a:solidFill>
                <a:ln w="57150" cap="sq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fr-FR" sz="360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59B085E0-06A5-4F21-BE8E-AABAF24B7489}"/>
                  </a:ext>
                </a:extLst>
              </p:cNvPr>
              <p:cNvGrpSpPr/>
              <p:nvPr/>
            </p:nvGrpSpPr>
            <p:grpSpPr>
              <a:xfrm>
                <a:off x="1149183" y="1843139"/>
                <a:ext cx="5510310" cy="3015091"/>
                <a:chOff x="3010528" y="1802142"/>
                <a:chExt cx="8609774" cy="4565020"/>
              </a:xfrm>
            </p:grpSpPr>
            <mc:AlternateContent xmlns:mc="http://schemas.openxmlformats.org/markup-compatibility/2006">
              <mc:Choice xmlns:cx1="http://schemas.microsoft.com/office/drawing/2015/9/8/chartex" Requires="cx1">
                <p:graphicFrame>
                  <p:nvGraphicFramePr>
                    <p:cNvPr id="5" name="Chart 4">
                      <a:extLst>
                        <a:ext uri="{FF2B5EF4-FFF2-40B4-BE49-F238E27FC236}">
                          <a16:creationId xmlns:a16="http://schemas.microsoft.com/office/drawing/2014/main" id="{C27E39F7-C778-4F87-BC99-CF4FC1CCFAA2}"/>
                        </a:ext>
                      </a:extLst>
                    </p:cNvPr>
                    <p:cNvGraphicFramePr/>
                    <p:nvPr>
                      <p:extLst>
                        <p:ext uri="{D42A27DB-BD31-4B8C-83A1-F6EECF244321}">
                          <p14:modId xmlns:p14="http://schemas.microsoft.com/office/powerpoint/2010/main" val="2979055680"/>
                        </p:ext>
                      </p:extLst>
                    </p:nvPr>
                  </p:nvGraphicFramePr>
                  <p:xfrm>
                    <a:off x="3010528" y="1802142"/>
                    <a:ext cx="8513972" cy="4532360"/>
                  </p:xfrm>
                  <a:graphic>
                    <a:graphicData uri="http://schemas.microsoft.com/office/drawing/2014/chartex">
                      <cx:chart xmlns:cx="http://schemas.microsoft.com/office/drawing/2014/chartex" xmlns:r="http://schemas.openxmlformats.org/officeDocument/2006/relationships" r:id="rId2"/>
                    </a:graphicData>
                  </a:graphic>
                </p:graphicFrame>
              </mc:Choice>
              <mc:Fallback>
                <p:pic>
                  <p:nvPicPr>
                    <p:cNvPr id="5" name="Chart 4">
                      <a:extLst>
                        <a:ext uri="{FF2B5EF4-FFF2-40B4-BE49-F238E27FC236}">
                          <a16:creationId xmlns:a16="http://schemas.microsoft.com/office/drawing/2014/main" id="{C27E39F7-C778-4F87-BC99-CF4FC1CCFAA2}"/>
                        </a:ext>
                      </a:extLst>
                    </p:cNvPr>
                    <p:cNvPicPr>
                      <a:picLocks noGrp="1" noRot="1" noChangeAspect="1" noMove="1" noResize="1" noEditPoints="1" noAdjustHandles="1" noChangeArrowheads="1" noChangeShapeType="1"/>
                    </p:cNvPicPr>
                    <p:nvPr/>
                  </p:nvPicPr>
                  <p:blipFill>
                    <a:blip r:embed="rId3"/>
                    <a:stretch>
                      <a:fillRect/>
                    </a:stretch>
                  </p:blipFill>
                  <p:spPr>
                    <a:xfrm>
                      <a:off x="515782" y="1867836"/>
                      <a:ext cx="4074417" cy="2702716"/>
                    </a:xfrm>
                    <a:prstGeom prst="rect">
                      <a:avLst/>
                    </a:prstGeom>
                  </p:spPr>
                </p:pic>
              </mc:Fallback>
            </mc:AlternateContent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3DC7770C-F6A4-4C2C-B17D-47E5592D74F4}"/>
                    </a:ext>
                  </a:extLst>
                </p:cNvPr>
                <p:cNvSpPr txBox="1"/>
                <p:nvPr/>
              </p:nvSpPr>
              <p:spPr>
                <a:xfrm>
                  <a:off x="8173533" y="2743201"/>
                  <a:ext cx="2637448" cy="348044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fr-FR" sz="1200">
                      <a:solidFill>
                        <a:schemeClr val="bg1"/>
                      </a:solidFill>
                    </a:rPr>
                    <a:t>Vide ; 25%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975BFD8E-D82D-4894-922E-6A7F4BC0264F}"/>
                    </a:ext>
                  </a:extLst>
                </p:cNvPr>
                <p:cNvSpPr txBox="1"/>
                <p:nvPr/>
              </p:nvSpPr>
              <p:spPr>
                <a:xfrm>
                  <a:off x="9652911" y="5883262"/>
                  <a:ext cx="1823496" cy="483900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fr-FR" sz="1200"/>
                    <a:t>1 et 0 ; 1 %</a:t>
                  </a: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06FCCC94-4D3D-4C96-80AE-E781DE7B7387}"/>
                    </a:ext>
                  </a:extLst>
                </p:cNvPr>
                <p:cNvSpPr txBox="1"/>
                <p:nvPr/>
              </p:nvSpPr>
              <p:spPr>
                <a:xfrm>
                  <a:off x="9616401" y="4563298"/>
                  <a:ext cx="2003901" cy="593386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fr-FR" sz="1200"/>
                    <a:t>3 ; 8 %</a:t>
                  </a:r>
                </a:p>
              </p:txBody>
            </p:sp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C5F4372F-CDAE-4F89-9929-A663B2C26E9D}"/>
                    </a:ext>
                  </a:extLst>
                </p:cNvPr>
                <p:cNvSpPr txBox="1"/>
                <p:nvPr/>
              </p:nvSpPr>
              <p:spPr>
                <a:xfrm>
                  <a:off x="7766292" y="4908062"/>
                  <a:ext cx="2003901" cy="462142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fr-FR" sz="1200"/>
                    <a:t>2 ; 11 %</a:t>
                  </a:r>
                </a:p>
              </p:txBody>
            </p:sp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46FD00CE-CC50-48E9-960A-5601C35D2980}"/>
                    </a:ext>
                  </a:extLst>
                </p:cNvPr>
                <p:cNvSpPr txBox="1"/>
                <p:nvPr/>
              </p:nvSpPr>
              <p:spPr>
                <a:xfrm>
                  <a:off x="4182845" y="3754876"/>
                  <a:ext cx="3051338" cy="405470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fr-FR" sz="1200"/>
                    <a:t>4 ; 55 %</a:t>
                  </a:r>
                </a:p>
              </p:txBody>
            </p:sp>
          </p:grpSp>
        </p:grp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C1E0ACF8-8EE9-44D2-AE87-B996841A04FB}"/>
                </a:ext>
              </a:extLst>
            </p:cNvPr>
            <p:cNvSpPr txBox="1"/>
            <p:nvPr/>
          </p:nvSpPr>
          <p:spPr>
            <a:xfrm>
              <a:off x="515783" y="5212080"/>
              <a:ext cx="5411560" cy="860373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fr-FR" sz="1600" b="1"/>
                <a:t>Répartition camion avant l’optimisation des trajets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2F7C7EC1-A86F-4E53-BA96-F626A2AB2C57}"/>
              </a:ext>
            </a:extLst>
          </p:cNvPr>
          <p:cNvGrpSpPr/>
          <p:nvPr/>
        </p:nvGrpSpPr>
        <p:grpSpPr>
          <a:xfrm>
            <a:off x="6179918" y="1836815"/>
            <a:ext cx="5412642" cy="4234794"/>
            <a:chOff x="6129118" y="1836815"/>
            <a:chExt cx="5412642" cy="4234794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4D6C7ED2-6BC0-44BF-8AC9-79B3A89B32B8}"/>
                </a:ext>
              </a:extLst>
            </p:cNvPr>
            <p:cNvGrpSpPr/>
            <p:nvPr/>
          </p:nvGrpSpPr>
          <p:grpSpPr>
            <a:xfrm>
              <a:off x="6129118" y="1836815"/>
              <a:ext cx="5412642" cy="3185332"/>
              <a:chOff x="6129118" y="1836815"/>
              <a:chExt cx="5412642" cy="3185332"/>
            </a:xfrm>
          </p:grpSpPr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ACDDB343-29B4-4EB1-978B-AE1521DCEEB5}"/>
                  </a:ext>
                </a:extLst>
              </p:cNvPr>
              <p:cNvGrpSpPr/>
              <p:nvPr/>
            </p:nvGrpSpPr>
            <p:grpSpPr>
              <a:xfrm>
                <a:off x="6129118" y="1836815"/>
                <a:ext cx="5412642" cy="3185332"/>
                <a:chOff x="6809838" y="1521855"/>
                <a:chExt cx="5412642" cy="3185332"/>
              </a:xfrm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0A6F9BEA-C531-483C-8A6A-BB5E8508FBCC}"/>
                    </a:ext>
                  </a:extLst>
                </p:cNvPr>
                <p:cNvGrpSpPr/>
                <p:nvPr/>
              </p:nvGrpSpPr>
              <p:grpSpPr>
                <a:xfrm>
                  <a:off x="6809838" y="1521855"/>
                  <a:ext cx="5412642" cy="3185332"/>
                  <a:chOff x="1149183" y="1838528"/>
                  <a:chExt cx="7238696" cy="3528064"/>
                </a:xfrm>
              </p:grpSpPr>
              <p:grpSp>
                <p:nvGrpSpPr>
                  <p:cNvPr id="57" name="Group 56">
                    <a:extLst>
                      <a:ext uri="{FF2B5EF4-FFF2-40B4-BE49-F238E27FC236}">
                        <a16:creationId xmlns:a16="http://schemas.microsoft.com/office/drawing/2014/main" id="{1DE56252-DE12-4BDB-BE9D-A0C44291AEDA}"/>
                      </a:ext>
                    </a:extLst>
                  </p:cNvPr>
                  <p:cNvGrpSpPr/>
                  <p:nvPr/>
                </p:nvGrpSpPr>
                <p:grpSpPr>
                  <a:xfrm>
                    <a:off x="1164423" y="1838528"/>
                    <a:ext cx="7223456" cy="3528064"/>
                    <a:chOff x="1164423" y="1838528"/>
                    <a:chExt cx="7223456" cy="3528064"/>
                  </a:xfrm>
                </p:grpSpPr>
                <p:sp>
                  <p:nvSpPr>
                    <p:cNvPr id="65" name="Rectangle 64">
                      <a:extLst>
                        <a:ext uri="{FF2B5EF4-FFF2-40B4-BE49-F238E27FC236}">
                          <a16:creationId xmlns:a16="http://schemas.microsoft.com/office/drawing/2014/main" id="{2AF0A28F-69C0-4FB3-8BE7-5A5422D53D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4423" y="1838528"/>
                      <a:ext cx="5418121" cy="2986391"/>
                    </a:xfrm>
                    <a:prstGeom prst="rect">
                      <a:avLst/>
                    </a:prstGeom>
                    <a:ln w="57150"/>
                  </p:spPr>
                  <p:style>
                    <a:lnRef idx="2">
                      <a:schemeClr val="dk1"/>
                    </a:lnRef>
                    <a:fillRef idx="1">
                      <a:schemeClr val="lt1"/>
                    </a:fillRef>
                    <a:effectRef idx="0">
                      <a:schemeClr val="dk1"/>
                    </a:effectRef>
                    <a:fontRef idx="minor">
                      <a:schemeClr val="dk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fr-FR" sz="3600" err="1">
                        <a:solidFill>
                          <a:schemeClr val="bg1"/>
                        </a:solidFill>
                      </a:endParaRPr>
                    </a:p>
                  </p:txBody>
                </p:sp>
                <p:cxnSp>
                  <p:nvCxnSpPr>
                    <p:cNvPr id="66" name="Straight Connector 65">
                      <a:extLst>
                        <a:ext uri="{FF2B5EF4-FFF2-40B4-BE49-F238E27FC236}">
                          <a16:creationId xmlns:a16="http://schemas.microsoft.com/office/drawing/2014/main" id="{E71541BF-C0AB-4E74-9807-FD5CA3F3F0EA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6598218" y="2694562"/>
                      <a:ext cx="767728" cy="0"/>
                    </a:xfrm>
                    <a:prstGeom prst="line">
                      <a:avLst/>
                    </a:prstGeom>
                    <a:ln w="57150">
                      <a:tailEnd type="none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7" name="Straight Connector 66">
                      <a:extLst>
                        <a:ext uri="{FF2B5EF4-FFF2-40B4-BE49-F238E27FC236}">
                          <a16:creationId xmlns:a16="http://schemas.microsoft.com/office/drawing/2014/main" id="{CBB9E71E-6D7A-4236-BEFC-EF5D284732F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7360746" y="2694562"/>
                      <a:ext cx="1027133" cy="1578335"/>
                    </a:xfrm>
                    <a:prstGeom prst="line">
                      <a:avLst/>
                    </a:prstGeom>
                    <a:ln w="57150">
                      <a:tailEnd type="none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8" name="Straight Connector 67">
                      <a:extLst>
                        <a:ext uri="{FF2B5EF4-FFF2-40B4-BE49-F238E27FC236}">
                          <a16:creationId xmlns:a16="http://schemas.microsoft.com/office/drawing/2014/main" id="{51312AD9-AD39-416E-9F98-1E28644F399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8386432" y="4263391"/>
                      <a:ext cx="0" cy="588198"/>
                    </a:xfrm>
                    <a:prstGeom prst="line">
                      <a:avLst/>
                    </a:prstGeom>
                    <a:ln w="57150">
                      <a:tailEnd type="none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9" name="Straight Connector 68">
                      <a:extLst>
                        <a:ext uri="{FF2B5EF4-FFF2-40B4-BE49-F238E27FC236}">
                          <a16:creationId xmlns:a16="http://schemas.microsoft.com/office/drawing/2014/main" id="{5E0BB49F-BD00-4330-A158-E7E8713B326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6598218" y="4824919"/>
                      <a:ext cx="1788214" cy="0"/>
                    </a:xfrm>
                    <a:prstGeom prst="line">
                      <a:avLst/>
                    </a:prstGeom>
                    <a:ln w="57150">
                      <a:tailEnd type="none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70" name="Oval 69">
                      <a:extLst>
                        <a:ext uri="{FF2B5EF4-FFF2-40B4-BE49-F238E27FC236}">
                          <a16:creationId xmlns:a16="http://schemas.microsoft.com/office/drawing/2014/main" id="{1A7C3510-4DCC-41CB-85FF-776F0D95BC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53052" y="4689504"/>
                      <a:ext cx="733331" cy="67708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57150" cap="sq">
                      <a:solidFill>
                        <a:schemeClr val="tx1"/>
                      </a:solidFill>
                      <a:miter lim="800000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fr-FR" sz="3600" err="1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71" name="Oval 70">
                      <a:extLst>
                        <a:ext uri="{FF2B5EF4-FFF2-40B4-BE49-F238E27FC236}">
                          <a16:creationId xmlns:a16="http://schemas.microsoft.com/office/drawing/2014/main" id="{3337C929-C6CC-4366-94E0-46842F1086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941668" y="4689503"/>
                      <a:ext cx="733331" cy="677088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57150" cap="sq">
                      <a:solidFill>
                        <a:schemeClr val="tx1"/>
                      </a:solidFill>
                      <a:miter lim="800000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fr-FR" sz="3600" err="1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grpSp>
                <p:nvGrpSpPr>
                  <p:cNvPr id="58" name="Group 57">
                    <a:extLst>
                      <a:ext uri="{FF2B5EF4-FFF2-40B4-BE49-F238E27FC236}">
                        <a16:creationId xmlns:a16="http://schemas.microsoft.com/office/drawing/2014/main" id="{2507BF7E-122C-43B3-ADC4-0A2E5CB24FBB}"/>
                      </a:ext>
                    </a:extLst>
                  </p:cNvPr>
                  <p:cNvGrpSpPr/>
                  <p:nvPr/>
                </p:nvGrpSpPr>
                <p:grpSpPr>
                  <a:xfrm>
                    <a:off x="1149183" y="1843139"/>
                    <a:ext cx="5510310" cy="2993519"/>
                    <a:chOff x="3010528" y="1802142"/>
                    <a:chExt cx="8609774" cy="4532360"/>
                  </a:xfrm>
                </p:grpSpPr>
                <mc:AlternateContent xmlns:mc="http://schemas.openxmlformats.org/markup-compatibility/2006">
                  <mc:Choice xmlns:cx1="http://schemas.microsoft.com/office/drawing/2015/9/8/chartex" Requires="cx1">
                    <p:graphicFrame>
                      <p:nvGraphicFramePr>
                        <p:cNvPr id="59" name="Chart 58">
                          <a:extLst>
                            <a:ext uri="{FF2B5EF4-FFF2-40B4-BE49-F238E27FC236}">
                              <a16:creationId xmlns:a16="http://schemas.microsoft.com/office/drawing/2014/main" id="{380D81EC-7FA7-466D-B86F-BEFFF14DE27E}"/>
                            </a:ext>
                          </a:extLst>
                        </p:cNvPr>
                        <p:cNvGraphicFramePr/>
                        <p:nvPr>
                          <p:extLst>
                            <p:ext uri="{D42A27DB-BD31-4B8C-83A1-F6EECF244321}">
                              <p14:modId xmlns:p14="http://schemas.microsoft.com/office/powerpoint/2010/main" val="1258163059"/>
                            </p:ext>
                          </p:extLst>
                        </p:nvPr>
                      </p:nvGraphicFramePr>
                      <p:xfrm>
                        <a:off x="3010528" y="1802142"/>
                        <a:ext cx="8513972" cy="4532360"/>
                      </p:xfrm>
                      <a:graphic>
                        <a:graphicData uri="http://schemas.microsoft.com/office/drawing/2014/chartex">
                          <cx:chart xmlns:cx="http://schemas.microsoft.com/office/drawing/2014/chartex" xmlns:r="http://schemas.openxmlformats.org/officeDocument/2006/relationships" r:id="rId4"/>
                        </a:graphicData>
                      </a:graphic>
                    </p:graphicFrame>
                  </mc:Choice>
                  <mc:Fallback>
                    <p:pic>
                      <p:nvPicPr>
                        <p:cNvPr id="59" name="Chart 58">
                          <a:extLst>
                            <a:ext uri="{FF2B5EF4-FFF2-40B4-BE49-F238E27FC236}">
                              <a16:creationId xmlns:a16="http://schemas.microsoft.com/office/drawing/2014/main" id="{380D81EC-7FA7-466D-B86F-BEFFF14DE27E}"/>
                            </a:ext>
                          </a:extLst>
                        </p:cNvPr>
                        <p:cNvPicPr>
                          <a:picLocks noGrp="1" noRot="1" noChangeAspect="1" noMove="1" noResize="1" noEditPoints="1" noAdjustHandles="1" noChangeArrowheads="1" noChangeShapeType="1"/>
                        </p:cNvPicPr>
                        <p:nvPr/>
                      </p:nvPicPr>
                      <p:blipFill>
                        <a:blip r:embed="rId5"/>
                        <a:stretch>
                          <a:fillRect/>
                        </a:stretch>
                      </p:blipFill>
                      <p:spPr>
                        <a:xfrm>
                          <a:off x="6179918" y="1840978"/>
                          <a:ext cx="4074417" cy="2702715"/>
                        </a:xfrm>
                        <a:prstGeom prst="rect">
                          <a:avLst/>
                        </a:prstGeom>
                      </p:spPr>
                    </p:pic>
                  </mc:Fallback>
                </mc:AlternateContent>
                <p:sp>
                  <p:nvSpPr>
                    <p:cNvPr id="60" name="TextBox 59">
                      <a:extLst>
                        <a:ext uri="{FF2B5EF4-FFF2-40B4-BE49-F238E27FC236}">
                          <a16:creationId xmlns:a16="http://schemas.microsoft.com/office/drawing/2014/main" id="{F962B878-1FE5-42AF-AF83-A5C5C9AD0CB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173533" y="2743201"/>
                      <a:ext cx="2637448" cy="348044"/>
                    </a:xfrm>
                    <a:prstGeom prst="rect">
                      <a:avLst/>
                    </a:prstGeom>
                    <a:ln w="6350">
                      <a:noFill/>
                      <a:miter lim="800000"/>
                    </a:ln>
                  </p:spPr>
                  <p:txBody>
                    <a:bodyPr vert="horz" wrap="square" lIns="0" tIns="0" rIns="0" bIns="0" rtlCol="0">
                      <a:noAutofit/>
                    </a:bodyPr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fr-FR" sz="1200">
                          <a:solidFill>
                            <a:schemeClr val="bg1"/>
                          </a:solidFill>
                        </a:rPr>
                        <a:t>Vide ; 25%</a:t>
                      </a:r>
                    </a:p>
                  </p:txBody>
                </p:sp>
                <p:sp>
                  <p:nvSpPr>
                    <p:cNvPr id="61" name="TextBox 60">
                      <a:extLst>
                        <a:ext uri="{FF2B5EF4-FFF2-40B4-BE49-F238E27FC236}">
                          <a16:creationId xmlns:a16="http://schemas.microsoft.com/office/drawing/2014/main" id="{BA34FB36-1226-423D-9B29-96BC73D0D6E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504297" y="5695845"/>
                      <a:ext cx="1823496" cy="483900"/>
                    </a:xfrm>
                    <a:prstGeom prst="rect">
                      <a:avLst/>
                    </a:prstGeom>
                    <a:ln w="6350">
                      <a:noFill/>
                      <a:miter lim="800000"/>
                    </a:ln>
                  </p:spPr>
                  <p:txBody>
                    <a:bodyPr vert="horz" wrap="square" lIns="0" tIns="0" rIns="0" bIns="0" rtlCol="0">
                      <a:noAutofit/>
                    </a:bodyPr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fr-FR" sz="1200"/>
                        <a:t>1 ; 1 %</a:t>
                      </a:r>
                    </a:p>
                  </p:txBody>
                </p:sp>
                <p:sp>
                  <p:nvSpPr>
                    <p:cNvPr id="62" name="TextBox 61">
                      <a:extLst>
                        <a:ext uri="{FF2B5EF4-FFF2-40B4-BE49-F238E27FC236}">
                          <a16:creationId xmlns:a16="http://schemas.microsoft.com/office/drawing/2014/main" id="{EE41012F-426F-4C18-9BB1-F804D3AEF60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616401" y="4563298"/>
                      <a:ext cx="2003901" cy="593386"/>
                    </a:xfrm>
                    <a:prstGeom prst="rect">
                      <a:avLst/>
                    </a:prstGeom>
                    <a:ln w="6350">
                      <a:noFill/>
                      <a:miter lim="800000"/>
                    </a:ln>
                  </p:spPr>
                  <p:txBody>
                    <a:bodyPr vert="horz" wrap="square" lIns="0" tIns="0" rIns="0" bIns="0" rtlCol="0">
                      <a:noAutofit/>
                    </a:bodyPr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fr-FR" sz="1200"/>
                        <a:t>3 ; 8 %</a:t>
                      </a:r>
                    </a:p>
                  </p:txBody>
                </p:sp>
                <p:sp>
                  <p:nvSpPr>
                    <p:cNvPr id="63" name="TextBox 62">
                      <a:extLst>
                        <a:ext uri="{FF2B5EF4-FFF2-40B4-BE49-F238E27FC236}">
                          <a16:creationId xmlns:a16="http://schemas.microsoft.com/office/drawing/2014/main" id="{BE598992-C67F-4924-BC31-BBF2E864318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766292" y="4908062"/>
                      <a:ext cx="2003901" cy="462142"/>
                    </a:xfrm>
                    <a:prstGeom prst="rect">
                      <a:avLst/>
                    </a:prstGeom>
                    <a:ln w="6350">
                      <a:noFill/>
                      <a:miter lim="800000"/>
                    </a:ln>
                  </p:spPr>
                  <p:txBody>
                    <a:bodyPr vert="horz" wrap="square" lIns="0" tIns="0" rIns="0" bIns="0" rtlCol="0">
                      <a:noAutofit/>
                    </a:bodyPr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fr-FR" sz="1200"/>
                        <a:t>2 ; 11 %</a:t>
                      </a:r>
                    </a:p>
                  </p:txBody>
                </p:sp>
                <p:sp>
                  <p:nvSpPr>
                    <p:cNvPr id="64" name="TextBox 63">
                      <a:extLst>
                        <a:ext uri="{FF2B5EF4-FFF2-40B4-BE49-F238E27FC236}">
                          <a16:creationId xmlns:a16="http://schemas.microsoft.com/office/drawing/2014/main" id="{B7E8404A-BDE6-4D33-A473-3C120ABA6FB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182845" y="3754876"/>
                      <a:ext cx="3051338" cy="405470"/>
                    </a:xfrm>
                    <a:prstGeom prst="rect">
                      <a:avLst/>
                    </a:prstGeom>
                    <a:ln w="6350">
                      <a:noFill/>
                      <a:miter lim="800000"/>
                    </a:ln>
                  </p:spPr>
                  <p:txBody>
                    <a:bodyPr vert="horz" wrap="square" lIns="0" tIns="0" rIns="0" bIns="0" rtlCol="0">
                      <a:noAutofit/>
                    </a:bodyPr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fr-FR" sz="1200"/>
                        <a:t>4 ; 55 %</a:t>
                      </a:r>
                    </a:p>
                  </p:txBody>
                </p:sp>
              </p:grpSp>
            </p:grpSp>
            <mc:AlternateContent xmlns:mc="http://schemas.openxmlformats.org/markup-compatibility/2006">
              <mc:Choice xmlns:cx1="http://schemas.microsoft.com/office/drawing/2015/9/8/chartex" Requires="cx1">
                <p:graphicFrame>
                  <p:nvGraphicFramePr>
                    <p:cNvPr id="53" name="Chart 52">
                      <a:extLst>
                        <a:ext uri="{FF2B5EF4-FFF2-40B4-BE49-F238E27FC236}">
                          <a16:creationId xmlns:a16="http://schemas.microsoft.com/office/drawing/2014/main" id="{C6A9D460-D5BE-4C1E-8343-6FB0D6987FA5}"/>
                        </a:ext>
                      </a:extLst>
                    </p:cNvPr>
                    <p:cNvGraphicFramePr/>
                    <p:nvPr>
                      <p:extLst>
                        <p:ext uri="{D42A27DB-BD31-4B8C-83A1-F6EECF244321}">
                          <p14:modId xmlns:p14="http://schemas.microsoft.com/office/powerpoint/2010/main" val="3095451448"/>
                        </p:ext>
                      </p:extLst>
                    </p:nvPr>
                  </p:nvGraphicFramePr>
                  <p:xfrm>
                    <a:off x="6811813" y="1552141"/>
                    <a:ext cx="4074416" cy="2628747"/>
                  </p:xfrm>
                  <a:graphic>
                    <a:graphicData uri="http://schemas.microsoft.com/office/drawing/2014/chartex">
                      <cx:chart xmlns:cx="http://schemas.microsoft.com/office/drawing/2014/chartex" xmlns:r="http://schemas.openxmlformats.org/officeDocument/2006/relationships" r:id="rId6"/>
                    </a:graphicData>
                  </a:graphic>
                </p:graphicFrame>
              </mc:Choice>
              <mc:Fallback>
                <p:pic>
                  <p:nvPicPr>
                    <p:cNvPr id="53" name="Chart 52">
                      <a:extLst>
                        <a:ext uri="{FF2B5EF4-FFF2-40B4-BE49-F238E27FC236}">
                          <a16:creationId xmlns:a16="http://schemas.microsoft.com/office/drawing/2014/main" id="{C6A9D460-D5BE-4C1E-8343-6FB0D6987FA5}"/>
                        </a:ext>
                      </a:extLst>
                    </p:cNvPr>
                    <p:cNvPicPr>
                      <a:picLocks noGrp="1" noRot="1" noChangeAspect="1" noMove="1" noResize="1" noEditPoints="1" noAdjustHandles="1" noChangeArrowheads="1" noChangeShapeType="1"/>
                    </p:cNvPicPr>
                    <p:nvPr/>
                  </p:nvPicPr>
                  <p:blipFill>
                    <a:blip r:embed="rId7"/>
                    <a:stretch>
                      <a:fillRect/>
                    </a:stretch>
                  </p:blipFill>
                  <p:spPr>
                    <a:xfrm>
                      <a:off x="6181893" y="1867101"/>
                      <a:ext cx="4074416" cy="2628747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F849482C-0814-4B0D-8562-485BC7480251}"/>
                  </a:ext>
                </a:extLst>
              </p:cNvPr>
              <p:cNvSpPr txBox="1"/>
              <p:nvPr/>
            </p:nvSpPr>
            <p:spPr>
              <a:xfrm>
                <a:off x="8764792" y="2261127"/>
                <a:ext cx="1262168" cy="207544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fr-FR" sz="1200">
                    <a:solidFill>
                      <a:schemeClr val="bg1"/>
                    </a:solidFill>
                  </a:rPr>
                  <a:t>Vide ; 13%</a:t>
                </a: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15FD5BC0-1680-4503-B816-7671011FA0AA}"/>
                  </a:ext>
                </a:extLst>
              </p:cNvPr>
              <p:cNvSpPr txBox="1"/>
              <p:nvPr/>
            </p:nvSpPr>
            <p:spPr>
              <a:xfrm>
                <a:off x="6859214" y="3073821"/>
                <a:ext cx="1460238" cy="241788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fr-FR" sz="1200"/>
                  <a:t>4 ; 65 %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FB33520F-ADF6-48DA-8030-535C418DDE65}"/>
                  </a:ext>
                </a:extLst>
              </p:cNvPr>
              <p:cNvSpPr txBox="1"/>
              <p:nvPr/>
            </p:nvSpPr>
            <p:spPr>
              <a:xfrm>
                <a:off x="9013166" y="3222381"/>
                <a:ext cx="958980" cy="275582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fr-FR" sz="1200"/>
                  <a:t>2 ; 12 %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E8F15F3D-5C8E-4067-8809-E34229C10C55}"/>
                  </a:ext>
                </a:extLst>
              </p:cNvPr>
              <p:cNvSpPr txBox="1"/>
              <p:nvPr/>
            </p:nvSpPr>
            <p:spPr>
              <a:xfrm>
                <a:off x="8952879" y="3796087"/>
                <a:ext cx="958980" cy="353845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fr-FR" sz="1200"/>
                  <a:t>3 ; 9 %</a:t>
                </a: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16C1F8F1-EFE0-45A2-A951-BF2F651DF848}"/>
                  </a:ext>
                </a:extLst>
              </p:cNvPr>
              <p:cNvSpPr txBox="1"/>
              <p:nvPr/>
            </p:nvSpPr>
            <p:spPr>
              <a:xfrm>
                <a:off x="9240590" y="4229173"/>
                <a:ext cx="872646" cy="288557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fr-FR" sz="1200"/>
                  <a:t>1 et 0 ; 1 %</a:t>
                </a:r>
              </a:p>
            </p:txBody>
          </p: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AB791C15-CD05-4217-9302-270B96142408}"/>
                </a:ext>
              </a:extLst>
            </p:cNvPr>
            <p:cNvSpPr txBox="1"/>
            <p:nvPr/>
          </p:nvSpPr>
          <p:spPr>
            <a:xfrm>
              <a:off x="6140514" y="5211236"/>
              <a:ext cx="5400162" cy="860373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fr-FR" sz="1600" b="1"/>
                <a:t>Répartition camion après l’optimisation des traje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85525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F8F477-D154-4266-8E7B-6BF75CD3E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>
                <a:latin typeface="+mj-lt"/>
              </a:rPr>
              <a:t>Une optimisation des itinéraires et particulièrement pour les trajets comportant de nombreux arrêts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1823B2-C9CA-42C3-B140-5EC956B922A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6DAC2A-5A38-4ADF-91B7-D2EB6ED815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2A5ECB-1D89-4979-BF60-BBA65E5A8C0A}"/>
              </a:ext>
            </a:extLst>
          </p:cNvPr>
          <p:cNvSpPr txBox="1"/>
          <p:nvPr/>
        </p:nvSpPr>
        <p:spPr>
          <a:xfrm>
            <a:off x="477520" y="1280160"/>
            <a:ext cx="5303520" cy="29586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600"/>
              <a:t>Etape 1 : Optimisation itinéraire à trajet fixé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3D22278-8F0B-47E2-BB69-D6CF5CFEE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115" y="1834019"/>
            <a:ext cx="4292821" cy="3854648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A0F226F8-05EB-7A44-8997-9332CE4F863F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>
                <a:latin typeface="Segoe UI Emoji" panose="020B0502040204020203" pitchFamily="34" charset="0"/>
                <a:ea typeface="Segoe UI Emoji" panose="020B0502040204020203" pitchFamily="34" charset="0"/>
              </a:rPr>
              <a:t>Source : Donnée client, Analyse </a:t>
            </a:r>
            <a:r>
              <a:rPr lang="fr-FR" sz="900" err="1">
                <a:latin typeface="Segoe UI Emoji" panose="020B0502040204020203" pitchFamily="34" charset="0"/>
                <a:ea typeface="Segoe UI Emoji" panose="020B0502040204020203" pitchFamily="34" charset="0"/>
              </a:rPr>
              <a:t>CentraleSupélec</a:t>
            </a:r>
            <a:endParaRPr lang="fr-FR" sz="9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2368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6BE81D-E633-0542-B9CD-B23FCB18D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latin typeface="Segoe UI Emoji"/>
                <a:ea typeface="Segoe UI Emoji"/>
              </a:rPr>
              <a:t>Solution Logistique | LPD pourrait réduire de x% ses émissions en 1 an en transférant l’entrepôt de Clermont à Rennes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CA742EB-D564-C548-B4D1-034E48C7DF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>
                <a:highlight>
                  <a:srgbClr val="FFFF00"/>
                </a:highlight>
              </a:rPr>
              <a:t>Back-up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33ECE94-7D97-4447-9283-9E989B7463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8460E81-D477-594C-921E-5473785ECD16}"/>
              </a:ext>
            </a:extLst>
          </p:cNvPr>
          <p:cNvSpPr txBox="1"/>
          <p:nvPr/>
        </p:nvSpPr>
        <p:spPr>
          <a:xfrm>
            <a:off x="554736" y="6531429"/>
            <a:ext cx="3731514" cy="2860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>
                <a:latin typeface="Segoe UI Emoji"/>
                <a:ea typeface="Segoe UI Emoji"/>
              </a:rPr>
              <a:t>Source : Donnée client, Analyse </a:t>
            </a:r>
            <a:r>
              <a:rPr lang="fr-FR" sz="900" err="1">
                <a:latin typeface="Segoe UI Emoji"/>
                <a:ea typeface="Segoe UI Emoji"/>
              </a:rPr>
              <a:t>CentraleSupélec</a:t>
            </a:r>
            <a:r>
              <a:rPr lang="fr-FR" sz="900">
                <a:latin typeface="Segoe UI Emoji"/>
                <a:ea typeface="Segoe UI Emoji"/>
              </a:rPr>
              <a:t>, https://</a:t>
            </a:r>
            <a:r>
              <a:rPr lang="fr-FR" sz="900" err="1">
                <a:latin typeface="Segoe UI Emoji"/>
                <a:ea typeface="Segoe UI Emoji"/>
              </a:rPr>
              <a:t>www.lapostegroupe.com</a:t>
            </a:r>
            <a:r>
              <a:rPr lang="fr-FR" sz="900">
                <a:latin typeface="Segoe UI Emoji"/>
                <a:ea typeface="Segoe UI Emoji"/>
              </a:rPr>
              <a:t>/</a:t>
            </a:r>
            <a:r>
              <a:rPr lang="fr-FR" sz="900" err="1">
                <a:latin typeface="Segoe UI Emoji"/>
                <a:ea typeface="Segoe UI Emoji"/>
              </a:rPr>
              <a:t>fr</a:t>
            </a:r>
            <a:r>
              <a:rPr lang="fr-FR" sz="900">
                <a:latin typeface="Segoe UI Emoji"/>
                <a:ea typeface="Segoe UI Emoji"/>
              </a:rPr>
              <a:t>/la-nouvelle-plateforme-colis-</a:t>
            </a:r>
            <a:r>
              <a:rPr lang="fr-FR" sz="900" err="1">
                <a:latin typeface="Segoe UI Emoji"/>
                <a:ea typeface="Segoe UI Emoji"/>
              </a:rPr>
              <a:t>dile</a:t>
            </a:r>
            <a:r>
              <a:rPr lang="fr-FR" sz="900">
                <a:latin typeface="Segoe UI Emoji"/>
                <a:ea typeface="Segoe UI Emoji"/>
              </a:rPr>
              <a:t>-de-</a:t>
            </a:r>
            <a:r>
              <a:rPr lang="fr-FR" sz="900" err="1">
                <a:latin typeface="Segoe UI Emoji"/>
                <a:ea typeface="Segoe UI Emoji"/>
              </a:rPr>
              <a:t>france</a:t>
            </a:r>
            <a:r>
              <a:rPr lang="fr-FR" sz="900">
                <a:latin typeface="Segoe UI Emoji"/>
                <a:ea typeface="Segoe UI Emoji"/>
              </a:rPr>
              <a:t>-mise-en-service</a:t>
            </a: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FB30EA0B-3A6F-EC45-AA84-565FBC778F48}"/>
              </a:ext>
            </a:extLst>
          </p:cNvPr>
          <p:cNvSpPr txBox="1"/>
          <p:nvPr/>
        </p:nvSpPr>
        <p:spPr>
          <a:xfrm>
            <a:off x="554736" y="1199014"/>
            <a:ext cx="11082528" cy="46567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pic>
        <p:nvPicPr>
          <p:cNvPr id="22" name="Picture 21" descr="Shape&#10;&#10;Description automatically generated with low confidence">
            <a:extLst>
              <a:ext uri="{FF2B5EF4-FFF2-40B4-BE49-F238E27FC236}">
                <a16:creationId xmlns:a16="http://schemas.microsoft.com/office/drawing/2014/main" id="{ADEB48ED-6E54-B34D-9838-6570D65C1C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rgbClr val="0D3171">
                <a:tint val="45000"/>
                <a:satMod val="400000"/>
              </a:srgbClr>
            </a:duotone>
          </a:blip>
          <a:srcRect l="17892" t="12558" r="16775" b="25529"/>
          <a:stretch/>
        </p:blipFill>
        <p:spPr>
          <a:xfrm>
            <a:off x="554736" y="1384728"/>
            <a:ext cx="974666" cy="92365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7AF27AF-6755-AB41-A4DD-225E11866C31}"/>
              </a:ext>
            </a:extLst>
          </p:cNvPr>
          <p:cNvSpPr txBox="1"/>
          <p:nvPr/>
        </p:nvSpPr>
        <p:spPr>
          <a:xfrm>
            <a:off x="1570309" y="1688150"/>
            <a:ext cx="3830940" cy="31680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2000"/>
              <a:t> 3M€ net investment*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A4DA2FC-A26F-B14E-ADD6-1F52CBE84933}"/>
              </a:ext>
            </a:extLst>
          </p:cNvPr>
          <p:cNvSpPr txBox="1"/>
          <p:nvPr/>
        </p:nvSpPr>
        <p:spPr>
          <a:xfrm>
            <a:off x="8037881" y="1527165"/>
            <a:ext cx="3830940" cy="67189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2000"/>
              <a:t>11% CO2 </a:t>
            </a:r>
            <a:r>
              <a:rPr lang="en-GB" sz="2000" err="1"/>
              <a:t>économisé</a:t>
            </a:r>
            <a:endParaRPr lang="en-GB" sz="2000"/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err="1"/>
              <a:t>Algorithme</a:t>
            </a:r>
            <a:r>
              <a:rPr lang="en-GB" sz="1400"/>
              <a:t> K-means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GB" sz="2000">
              <a:highlight>
                <a:srgbClr val="FFFF00"/>
              </a:highlight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C870AA0-5B69-8542-8656-E139DDF383C5}"/>
              </a:ext>
            </a:extLst>
          </p:cNvPr>
          <p:cNvGrpSpPr/>
          <p:nvPr/>
        </p:nvGrpSpPr>
        <p:grpSpPr>
          <a:xfrm>
            <a:off x="6080868" y="1341175"/>
            <a:ext cx="15132" cy="4852436"/>
            <a:chOff x="6550603" y="1441006"/>
            <a:chExt cx="15132" cy="4852436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88B4258-72A1-0547-9AEE-85B8989B9A2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551239" y="1441006"/>
              <a:ext cx="14496" cy="2872436"/>
            </a:xfrm>
            <a:prstGeom prst="line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D2AACF01-D9EC-DD4D-ACFB-B684CB5E1711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6550603" y="4313442"/>
              <a:ext cx="15132" cy="1980000"/>
            </a:xfrm>
            <a:prstGeom prst="line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0073B87-0457-6F46-820A-555AD4D05796}"/>
              </a:ext>
            </a:extLst>
          </p:cNvPr>
          <p:cNvSpPr txBox="1"/>
          <p:nvPr/>
        </p:nvSpPr>
        <p:spPr>
          <a:xfrm>
            <a:off x="9803876" y="1717635"/>
            <a:ext cx="1833388" cy="122663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40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05A3EA7-AAC6-C64F-B668-54F9617540E6}"/>
              </a:ext>
            </a:extLst>
          </p:cNvPr>
          <p:cNvGrpSpPr/>
          <p:nvPr/>
        </p:nvGrpSpPr>
        <p:grpSpPr>
          <a:xfrm>
            <a:off x="3178180" y="2764055"/>
            <a:ext cx="2917819" cy="1583710"/>
            <a:chOff x="9020279" y="1605613"/>
            <a:chExt cx="2917819" cy="1583710"/>
          </a:xfrm>
        </p:grpSpPr>
        <p:sp>
          <p:nvSpPr>
            <p:cNvPr id="11" name="Right Arrow 10">
              <a:extLst>
                <a:ext uri="{FF2B5EF4-FFF2-40B4-BE49-F238E27FC236}">
                  <a16:creationId xmlns:a16="http://schemas.microsoft.com/office/drawing/2014/main" id="{1FDC5563-D793-AB49-B87F-D133D705C30F}"/>
                </a:ext>
              </a:extLst>
            </p:cNvPr>
            <p:cNvSpPr/>
            <p:nvPr/>
          </p:nvSpPr>
          <p:spPr>
            <a:xfrm>
              <a:off x="9020279" y="2193700"/>
              <a:ext cx="490654" cy="274505"/>
            </a:xfrm>
            <a:prstGeom prst="rightArrow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338FA2A-85DD-C04B-A381-B1636F67F044}"/>
                </a:ext>
              </a:extLst>
            </p:cNvPr>
            <p:cNvSpPr txBox="1"/>
            <p:nvPr/>
          </p:nvSpPr>
          <p:spPr>
            <a:xfrm>
              <a:off x="9510933" y="1605613"/>
              <a:ext cx="2427165" cy="1583710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171450" indent="-171450" algn="l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200" dirty="0"/>
                <a:t>0.5 m^3 par </a:t>
              </a:r>
              <a:r>
                <a:rPr lang="en-GB" sz="1200" dirty="0" err="1"/>
                <a:t>colis</a:t>
              </a:r>
              <a:endParaRPr lang="en-GB" sz="1200" dirty="0"/>
            </a:p>
            <a:p>
              <a:pPr marL="171450" indent="-171450" algn="l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200" dirty="0"/>
                <a:t>2m de </a:t>
              </a:r>
              <a:r>
                <a:rPr lang="en-GB" sz="1200" dirty="0" err="1"/>
                <a:t>haut</a:t>
              </a:r>
              <a:r>
                <a:rPr lang="en-GB" sz="1200" dirty="0"/>
                <a:t> (</a:t>
              </a:r>
              <a:r>
                <a:rPr lang="en-GB" sz="1200" dirty="0" err="1"/>
                <a:t>hypothèse</a:t>
              </a:r>
              <a:r>
                <a:rPr lang="en-GB" sz="1200" dirty="0"/>
                <a:t>)</a:t>
              </a:r>
            </a:p>
            <a:p>
              <a:pPr marL="342900" indent="-342900" algn="l">
                <a:spcBef>
                  <a:spcPts val="300"/>
                </a:spcBef>
                <a:spcAft>
                  <a:spcPts val="300"/>
                </a:spcAft>
                <a:buFont typeface="Wingdings" pitchFamily="2" charset="2"/>
                <a:buChar char="è"/>
              </a:pPr>
              <a:r>
                <a:rPr lang="en-GB" sz="1200" dirty="0">
                  <a:sym typeface="Wingdings" pitchFamily="2" charset="2"/>
                </a:rPr>
                <a:t>250 m² </a:t>
              </a:r>
              <a:r>
                <a:rPr lang="en-GB" sz="1200" dirty="0" err="1">
                  <a:sym typeface="Wingdings" pitchFamily="2" charset="2"/>
                </a:rPr>
                <a:t>en</a:t>
              </a:r>
              <a:r>
                <a:rPr lang="en-GB" sz="1200" dirty="0">
                  <a:sym typeface="Wingdings" pitchFamily="2" charset="2"/>
                </a:rPr>
                <a:t> </a:t>
              </a:r>
              <a:r>
                <a:rPr lang="en-GB" sz="1200" dirty="0" err="1">
                  <a:sym typeface="Wingdings" pitchFamily="2" charset="2"/>
                </a:rPr>
                <a:t>moyenne</a:t>
              </a:r>
              <a:r>
                <a:rPr lang="en-GB" sz="1200" dirty="0">
                  <a:sym typeface="Wingdings" pitchFamily="2" charset="2"/>
                </a:rPr>
                <a:t> par jour de stock. 5 </a:t>
              </a:r>
              <a:r>
                <a:rPr lang="en-GB" sz="1200" dirty="0" err="1">
                  <a:sym typeface="Wingdings" pitchFamily="2" charset="2"/>
                </a:rPr>
                <a:t>jours</a:t>
              </a:r>
              <a:r>
                <a:rPr lang="en-GB" sz="1200" dirty="0">
                  <a:sym typeface="Wingdings" pitchFamily="2" charset="2"/>
                </a:rPr>
                <a:t> de stocks</a:t>
              </a:r>
            </a:p>
            <a:p>
              <a:pPr marL="285750" indent="-285750" algn="l">
                <a:spcBef>
                  <a:spcPts val="300"/>
                </a:spcBef>
                <a:spcAft>
                  <a:spcPts val="300"/>
                </a:spcAft>
                <a:buFont typeface="Wingdings" pitchFamily="2" charset="2"/>
                <a:buChar char="è"/>
              </a:pPr>
              <a:r>
                <a:rPr lang="en-GB" sz="1200" dirty="0">
                  <a:sym typeface="Wingdings" pitchFamily="2" charset="2"/>
                </a:rPr>
                <a:t>Rennes :</a:t>
              </a:r>
              <a:r>
                <a:rPr lang="en-GB" b="1" dirty="0">
                  <a:solidFill>
                    <a:srgbClr val="051C2C"/>
                  </a:solidFill>
                  <a:sym typeface="Wingdings" pitchFamily="2" charset="2"/>
                </a:rPr>
                <a:t> 1250m²</a:t>
              </a:r>
              <a:endParaRPr lang="en-GB" sz="1200" dirty="0">
                <a:sym typeface="Wingdings" pitchFamily="2" charset="2"/>
              </a:endParaRPr>
            </a:p>
            <a:p>
              <a:pPr marL="285750" indent="-285750" algn="l">
                <a:spcBef>
                  <a:spcPts val="300"/>
                </a:spcBef>
                <a:spcAft>
                  <a:spcPts val="300"/>
                </a:spcAft>
                <a:buFont typeface="Wingdings" pitchFamily="2" charset="2"/>
                <a:buChar char="è"/>
              </a:pPr>
              <a:r>
                <a:rPr lang="en-GB" sz="1200" dirty="0">
                  <a:sym typeface="Wingdings" pitchFamily="2" charset="2"/>
                </a:rPr>
                <a:t>Clermont : </a:t>
              </a:r>
              <a:r>
                <a:rPr lang="en-GB" b="1" dirty="0">
                  <a:solidFill>
                    <a:srgbClr val="051C2C"/>
                  </a:solidFill>
                  <a:sym typeface="Wingdings" pitchFamily="2" charset="2"/>
                </a:rPr>
                <a:t>500m²</a:t>
              </a:r>
              <a:endParaRPr lang="en-GB" b="1" dirty="0">
                <a:solidFill>
                  <a:srgbClr val="051C2C"/>
                </a:solidFill>
              </a:endParaRPr>
            </a:p>
          </p:txBody>
        </p:sp>
      </p:grpSp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554EB883-12A4-794A-BCF3-CF4F021D05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756058"/>
              </p:ext>
            </p:extLst>
          </p:nvPr>
        </p:nvGraphicFramePr>
        <p:xfrm>
          <a:off x="554736" y="4969585"/>
          <a:ext cx="2542648" cy="1106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5377">
                  <a:extLst>
                    <a:ext uri="{9D8B030D-6E8A-4147-A177-3AD203B41FA5}">
                      <a16:colId xmlns:a16="http://schemas.microsoft.com/office/drawing/2014/main" val="3388164686"/>
                    </a:ext>
                  </a:extLst>
                </a:gridCol>
                <a:gridCol w="488614">
                  <a:extLst>
                    <a:ext uri="{9D8B030D-6E8A-4147-A177-3AD203B41FA5}">
                      <a16:colId xmlns:a16="http://schemas.microsoft.com/office/drawing/2014/main" val="388903816"/>
                    </a:ext>
                  </a:extLst>
                </a:gridCol>
                <a:gridCol w="431698">
                  <a:extLst>
                    <a:ext uri="{9D8B030D-6E8A-4147-A177-3AD203B41FA5}">
                      <a16:colId xmlns:a16="http://schemas.microsoft.com/office/drawing/2014/main" val="2126906421"/>
                    </a:ext>
                  </a:extLst>
                </a:gridCol>
                <a:gridCol w="522977">
                  <a:extLst>
                    <a:ext uri="{9D8B030D-6E8A-4147-A177-3AD203B41FA5}">
                      <a16:colId xmlns:a16="http://schemas.microsoft.com/office/drawing/2014/main" val="1173683496"/>
                    </a:ext>
                  </a:extLst>
                </a:gridCol>
                <a:gridCol w="493982">
                  <a:extLst>
                    <a:ext uri="{9D8B030D-6E8A-4147-A177-3AD203B41FA5}">
                      <a16:colId xmlns:a16="http://schemas.microsoft.com/office/drawing/2014/main" val="3718982860"/>
                    </a:ext>
                  </a:extLst>
                </a:gridCol>
              </a:tblGrid>
              <a:tr h="280663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FR" sz="10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colis (k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 (M€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rf. (m²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(€)/m²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98750189"/>
                  </a:ext>
                </a:extLst>
              </a:tr>
              <a:tr h="26394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GB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nterea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6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5984424"/>
                  </a:ext>
                </a:extLst>
              </a:tr>
              <a:tr h="26394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GB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la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9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4850849"/>
                  </a:ext>
                </a:extLst>
              </a:tr>
              <a:tr h="26394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GB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p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F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0675492"/>
                  </a:ext>
                </a:extLst>
              </a:tr>
            </a:tbl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05E6A3F2-625C-7040-A1B4-EFAAACD4DE82}"/>
              </a:ext>
            </a:extLst>
          </p:cNvPr>
          <p:cNvGrpSpPr/>
          <p:nvPr/>
        </p:nvGrpSpPr>
        <p:grpSpPr>
          <a:xfrm>
            <a:off x="3178180" y="5189578"/>
            <a:ext cx="3268246" cy="516073"/>
            <a:chOff x="8429729" y="2115096"/>
            <a:chExt cx="3268246" cy="516073"/>
          </a:xfrm>
        </p:grpSpPr>
        <p:sp>
          <p:nvSpPr>
            <p:cNvPr id="43" name="Right Arrow 42">
              <a:extLst>
                <a:ext uri="{FF2B5EF4-FFF2-40B4-BE49-F238E27FC236}">
                  <a16:creationId xmlns:a16="http://schemas.microsoft.com/office/drawing/2014/main" id="{2DE05B81-C6ED-054E-9326-C490D279341E}"/>
                </a:ext>
              </a:extLst>
            </p:cNvPr>
            <p:cNvSpPr/>
            <p:nvPr/>
          </p:nvSpPr>
          <p:spPr>
            <a:xfrm>
              <a:off x="8429729" y="2356664"/>
              <a:ext cx="490654" cy="274505"/>
            </a:xfrm>
            <a:prstGeom prst="rightArrow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55D99D6-CB9E-FD4D-8678-B177EF2B21F5}"/>
                </a:ext>
              </a:extLst>
            </p:cNvPr>
            <p:cNvSpPr txBox="1"/>
            <p:nvPr/>
          </p:nvSpPr>
          <p:spPr>
            <a:xfrm>
              <a:off x="9699273" y="2115096"/>
              <a:ext cx="1998702" cy="43171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171450" indent="-171450" algn="l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endParaRPr lang="en-GB" sz="1600"/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B26D3F5C-4328-8444-BF69-EC9A66889524}"/>
              </a:ext>
            </a:extLst>
          </p:cNvPr>
          <p:cNvSpPr txBox="1"/>
          <p:nvPr/>
        </p:nvSpPr>
        <p:spPr>
          <a:xfrm>
            <a:off x="5709425" y="568420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90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36BF987-2401-7247-AA4C-974E2E6354A4}"/>
              </a:ext>
            </a:extLst>
          </p:cNvPr>
          <p:cNvSpPr txBox="1"/>
          <p:nvPr/>
        </p:nvSpPr>
        <p:spPr>
          <a:xfrm>
            <a:off x="3739944" y="5096861"/>
            <a:ext cx="1327561" cy="85161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None/>
            </a:pPr>
            <a:r>
              <a:rPr lang="en-GB" b="1" dirty="0">
                <a:solidFill>
                  <a:srgbClr val="051C2C"/>
                </a:solidFill>
              </a:rPr>
              <a:t>3000 €/</a:t>
            </a:r>
            <a:r>
              <a:rPr lang="en-GB" b="1">
                <a:solidFill>
                  <a:srgbClr val="051C2C"/>
                </a:solidFill>
              </a:rPr>
              <a:t>m2</a:t>
            </a:r>
            <a:r>
              <a:rPr lang="en-GB" b="1" dirty="0">
                <a:solidFill>
                  <a:srgbClr val="051C2C"/>
                </a:solidFill>
              </a:rPr>
              <a:t> </a:t>
            </a:r>
            <a:r>
              <a:rPr lang="en-GB" sz="1100" dirty="0"/>
              <a:t>(petit entrepôt)</a:t>
            </a:r>
            <a:endParaRPr lang="en-GB" dirty="0"/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dirty="0">
                <a:solidFill>
                  <a:srgbClr val="0D3171"/>
                </a:solidFill>
              </a:rPr>
              <a:t>Clermont : </a:t>
            </a:r>
            <a:r>
              <a:rPr lang="en-GB" b="1" dirty="0">
                <a:solidFill>
                  <a:srgbClr val="051C2C"/>
                </a:solidFill>
              </a:rPr>
              <a:t>750k€</a:t>
            </a:r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dirty="0">
                <a:solidFill>
                  <a:srgbClr val="0D3171"/>
                </a:solidFill>
              </a:rPr>
              <a:t>Rennes : </a:t>
            </a:r>
            <a:r>
              <a:rPr lang="en-GB" b="1" dirty="0">
                <a:solidFill>
                  <a:srgbClr val="051C2C"/>
                </a:solidFill>
              </a:rPr>
              <a:t>3.75M€</a:t>
            </a:r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endParaRPr lang="en-GB" sz="2000" dirty="0">
              <a:solidFill>
                <a:srgbClr val="0D317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01324E-2615-5F41-BC71-18506E6A4636}"/>
              </a:ext>
            </a:extLst>
          </p:cNvPr>
          <p:cNvSpPr txBox="1"/>
          <p:nvPr/>
        </p:nvSpPr>
        <p:spPr>
          <a:xfrm>
            <a:off x="702281" y="4784574"/>
            <a:ext cx="1339478" cy="2284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200" u="sng"/>
              <a:t>Comparable, La Poste*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0C4F055-90FC-9840-92E7-AECA382B3B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2935028"/>
              </p:ext>
            </p:extLst>
          </p:nvPr>
        </p:nvGraphicFramePr>
        <p:xfrm>
          <a:off x="554736" y="2764055"/>
          <a:ext cx="2542648" cy="159387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711842">
                  <a:extLst>
                    <a:ext uri="{9D8B030D-6E8A-4147-A177-3AD203B41FA5}">
                      <a16:colId xmlns:a16="http://schemas.microsoft.com/office/drawing/2014/main" val="4138318315"/>
                    </a:ext>
                  </a:extLst>
                </a:gridCol>
                <a:gridCol w="457472">
                  <a:extLst>
                    <a:ext uri="{9D8B030D-6E8A-4147-A177-3AD203B41FA5}">
                      <a16:colId xmlns:a16="http://schemas.microsoft.com/office/drawing/2014/main" val="1212079956"/>
                    </a:ext>
                  </a:extLst>
                </a:gridCol>
                <a:gridCol w="686667">
                  <a:extLst>
                    <a:ext uri="{9D8B030D-6E8A-4147-A177-3AD203B41FA5}">
                      <a16:colId xmlns:a16="http://schemas.microsoft.com/office/drawing/2014/main" val="3172486773"/>
                    </a:ext>
                  </a:extLst>
                </a:gridCol>
                <a:gridCol w="686667">
                  <a:extLst>
                    <a:ext uri="{9D8B030D-6E8A-4147-A177-3AD203B41FA5}">
                      <a16:colId xmlns:a16="http://schemas.microsoft.com/office/drawing/2014/main" val="4195713935"/>
                    </a:ext>
                  </a:extLst>
                </a:gridCol>
              </a:tblGrid>
              <a:tr h="316524"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u="none" strike="noStrike">
                          <a:effectLst/>
                        </a:rPr>
                        <a:t>warehouse</a:t>
                      </a:r>
                      <a:endParaRPr lang="en-GB" sz="10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u="none" strike="noStrike">
                          <a:effectLst/>
                        </a:rPr>
                        <a:t># units</a:t>
                      </a:r>
                      <a:endParaRPr lang="en-GB" sz="10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u="none" strike="noStrike">
                          <a:effectLst/>
                        </a:rPr>
                        <a:t>volume total</a:t>
                      </a:r>
                      <a:endParaRPr lang="en-GB" sz="10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u="none" strike="noStrike">
                          <a:effectLst/>
                        </a:rPr>
                        <a:t>Surface estimée</a:t>
                      </a:r>
                      <a:endParaRPr lang="en-GB" sz="10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extLst>
                  <a:ext uri="{0D108BD9-81ED-4DB2-BD59-A6C34878D82A}">
                    <a16:rowId xmlns:a16="http://schemas.microsoft.com/office/drawing/2014/main" val="3635529213"/>
                  </a:ext>
                </a:extLst>
              </a:tr>
              <a:tr h="161076"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u="none" strike="noStrike">
                          <a:effectLst/>
                        </a:rPr>
                        <a:t>Avignon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962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456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228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extLst>
                  <a:ext uri="{0D108BD9-81ED-4DB2-BD59-A6C34878D82A}">
                    <a16:rowId xmlns:a16="http://schemas.microsoft.com/office/drawing/2014/main" val="1847864950"/>
                  </a:ext>
                </a:extLst>
              </a:tr>
              <a:tr h="161076"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u="none" strike="noStrike">
                          <a:effectLst/>
                        </a:rPr>
                        <a:t>Cergy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2711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1310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655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extLst>
                  <a:ext uri="{0D108BD9-81ED-4DB2-BD59-A6C34878D82A}">
                    <a16:rowId xmlns:a16="http://schemas.microsoft.com/office/drawing/2014/main" val="3947183398"/>
                  </a:ext>
                </a:extLst>
              </a:tr>
              <a:tr h="161076"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u="none" strike="noStrike">
                          <a:effectLst/>
                        </a:rPr>
                        <a:t>Clermont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270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129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65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extLst>
                  <a:ext uri="{0D108BD9-81ED-4DB2-BD59-A6C34878D82A}">
                    <a16:rowId xmlns:a16="http://schemas.microsoft.com/office/drawing/2014/main" val="3071744396"/>
                  </a:ext>
                </a:extLst>
              </a:tr>
              <a:tr h="316524"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u="none" strike="noStrike">
                          <a:effectLst/>
                        </a:rPr>
                        <a:t>Montauban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588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285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143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extLst>
                  <a:ext uri="{0D108BD9-81ED-4DB2-BD59-A6C34878D82A}">
                    <a16:rowId xmlns:a16="http://schemas.microsoft.com/office/drawing/2014/main" val="1142559223"/>
                  </a:ext>
                </a:extLst>
              </a:tr>
              <a:tr h="161076"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u="none" strike="noStrike">
                          <a:effectLst/>
                        </a:rPr>
                        <a:t>Reims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743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359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u="none" strike="noStrike">
                          <a:effectLst/>
                        </a:rPr>
                        <a:t>180</a:t>
                      </a:r>
                      <a:endParaRPr lang="en-FR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/>
                </a:tc>
                <a:extLst>
                  <a:ext uri="{0D108BD9-81ED-4DB2-BD59-A6C34878D82A}">
                    <a16:rowId xmlns:a16="http://schemas.microsoft.com/office/drawing/2014/main" val="1056733278"/>
                  </a:ext>
                </a:extLst>
              </a:tr>
              <a:tr h="316524"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Moyenne</a:t>
                      </a:r>
                    </a:p>
                  </a:txBody>
                  <a:tcPr marL="5519" marR="5519" marT="5519" marB="0" anchor="ctr">
                    <a:solidFill>
                      <a:srgbClr val="051C2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FR" sz="10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19" marR="5519" marT="5519" marB="0" anchor="ctr">
                    <a:solidFill>
                      <a:srgbClr val="051C2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.5 / colis</a:t>
                      </a:r>
                    </a:p>
                  </a:txBody>
                  <a:tcPr marL="5519" marR="5519" marT="5519" marB="0" anchor="ctr">
                    <a:solidFill>
                      <a:srgbClr val="051C2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FR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50m</a:t>
                      </a:r>
                      <a:r>
                        <a:rPr lang="fr-FR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²</a:t>
                      </a:r>
                      <a:r>
                        <a:rPr lang="en-FR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/jour</a:t>
                      </a:r>
                    </a:p>
                  </a:txBody>
                  <a:tcPr marL="5519" marR="5519" marT="5519" marB="0" anchor="ctr">
                    <a:solidFill>
                      <a:srgbClr val="051C2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105386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436F610-2084-4248-8FD7-F7F9986C5AA5}"/>
              </a:ext>
            </a:extLst>
          </p:cNvPr>
          <p:cNvSpPr txBox="1"/>
          <p:nvPr/>
        </p:nvSpPr>
        <p:spPr>
          <a:xfrm>
            <a:off x="8229600" y="5288096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9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499AC0F-3007-EC4F-9A01-234A897C6A42}"/>
              </a:ext>
            </a:extLst>
          </p:cNvPr>
          <p:cNvSpPr txBox="1"/>
          <p:nvPr/>
        </p:nvSpPr>
        <p:spPr>
          <a:xfrm>
            <a:off x="5431316" y="604826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90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1B36498-DBE9-6B4F-B20C-FA51B06F044A}"/>
              </a:ext>
            </a:extLst>
          </p:cNvPr>
          <p:cNvGrpSpPr/>
          <p:nvPr/>
        </p:nvGrpSpPr>
        <p:grpSpPr>
          <a:xfrm>
            <a:off x="7707943" y="3973269"/>
            <a:ext cx="2915958" cy="2460683"/>
            <a:chOff x="554736" y="2229986"/>
            <a:chExt cx="4615505" cy="3429000"/>
          </a:xfrm>
        </p:grpSpPr>
        <p:pic>
          <p:nvPicPr>
            <p:cNvPr id="33" name="Picture 32" descr="Map&#10;&#10;Description automatically generated">
              <a:extLst>
                <a:ext uri="{FF2B5EF4-FFF2-40B4-BE49-F238E27FC236}">
                  <a16:creationId xmlns:a16="http://schemas.microsoft.com/office/drawing/2014/main" id="{2ACCF859-2748-2F4E-B767-082CB30D0F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4736" y="2229986"/>
              <a:ext cx="4615505" cy="3429000"/>
            </a:xfrm>
            <a:prstGeom prst="rect">
              <a:avLst/>
            </a:prstGeom>
          </p:spPr>
        </p:pic>
        <p:sp>
          <p:nvSpPr>
            <p:cNvPr id="34" name="Doughnut 33">
              <a:extLst>
                <a:ext uri="{FF2B5EF4-FFF2-40B4-BE49-F238E27FC236}">
                  <a16:creationId xmlns:a16="http://schemas.microsoft.com/office/drawing/2014/main" id="{D9BF1DF7-31D1-AA4D-B944-2762F40032D1}"/>
                </a:ext>
              </a:extLst>
            </p:cNvPr>
            <p:cNvSpPr/>
            <p:nvPr/>
          </p:nvSpPr>
          <p:spPr>
            <a:xfrm>
              <a:off x="1349298" y="3189249"/>
              <a:ext cx="657922" cy="479502"/>
            </a:xfrm>
            <a:prstGeom prst="donut">
              <a:avLst>
                <a:gd name="adj" fmla="val 5704"/>
              </a:avLst>
            </a:prstGeom>
            <a:solidFill>
              <a:srgbClr val="FFC00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</a:endParaRPr>
            </a:p>
          </p:txBody>
        </p:sp>
        <p:sp>
          <p:nvSpPr>
            <p:cNvPr id="35" name="Doughnut 34">
              <a:extLst>
                <a:ext uri="{FF2B5EF4-FFF2-40B4-BE49-F238E27FC236}">
                  <a16:creationId xmlns:a16="http://schemas.microsoft.com/office/drawing/2014/main" id="{2148730B-D806-AD4F-AE9E-538E492A010B}"/>
                </a:ext>
              </a:extLst>
            </p:cNvPr>
            <p:cNvSpPr/>
            <p:nvPr/>
          </p:nvSpPr>
          <p:spPr>
            <a:xfrm>
              <a:off x="2465707" y="2731367"/>
              <a:ext cx="1001410" cy="588038"/>
            </a:xfrm>
            <a:prstGeom prst="donut">
              <a:avLst>
                <a:gd name="adj" fmla="val 5704"/>
              </a:avLst>
            </a:prstGeom>
            <a:solidFill>
              <a:srgbClr val="FFC00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</a:endParaRPr>
            </a:p>
          </p:txBody>
        </p:sp>
        <p:sp>
          <p:nvSpPr>
            <p:cNvPr id="36" name="Doughnut 35">
              <a:extLst>
                <a:ext uri="{FF2B5EF4-FFF2-40B4-BE49-F238E27FC236}">
                  <a16:creationId xmlns:a16="http://schemas.microsoft.com/office/drawing/2014/main" id="{81D60E65-5B68-504B-8522-CC70459334A4}"/>
                </a:ext>
              </a:extLst>
            </p:cNvPr>
            <p:cNvSpPr/>
            <p:nvPr/>
          </p:nvSpPr>
          <p:spPr>
            <a:xfrm>
              <a:off x="2359770" y="4703649"/>
              <a:ext cx="1275528" cy="682390"/>
            </a:xfrm>
            <a:prstGeom prst="donut">
              <a:avLst>
                <a:gd name="adj" fmla="val 5704"/>
              </a:avLst>
            </a:prstGeom>
            <a:solidFill>
              <a:srgbClr val="FFC00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err="1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39" name="Table 8">
            <a:extLst>
              <a:ext uri="{FF2B5EF4-FFF2-40B4-BE49-F238E27FC236}">
                <a16:creationId xmlns:a16="http://schemas.microsoft.com/office/drawing/2014/main" id="{6DA330EB-F408-7E44-A31E-C2973A3C6A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7015807"/>
              </p:ext>
            </p:extLst>
          </p:nvPr>
        </p:nvGraphicFramePr>
        <p:xfrm>
          <a:off x="6441086" y="2323043"/>
          <a:ext cx="5181681" cy="14630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63707">
                  <a:extLst>
                    <a:ext uri="{9D8B030D-6E8A-4147-A177-3AD203B41FA5}">
                      <a16:colId xmlns:a16="http://schemas.microsoft.com/office/drawing/2014/main" val="4114028006"/>
                    </a:ext>
                  </a:extLst>
                </a:gridCol>
                <a:gridCol w="1514213">
                  <a:extLst>
                    <a:ext uri="{9D8B030D-6E8A-4147-A177-3AD203B41FA5}">
                      <a16:colId xmlns:a16="http://schemas.microsoft.com/office/drawing/2014/main" val="427713331"/>
                    </a:ext>
                  </a:extLst>
                </a:gridCol>
                <a:gridCol w="1603761">
                  <a:extLst>
                    <a:ext uri="{9D8B030D-6E8A-4147-A177-3AD203B41FA5}">
                      <a16:colId xmlns:a16="http://schemas.microsoft.com/office/drawing/2014/main" val="190686842"/>
                    </a:ext>
                  </a:extLst>
                </a:gridCol>
              </a:tblGrid>
              <a:tr h="351264"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CO2 économisé vs base scénar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Investisse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64388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100"/>
                        <a:t>1 – </a:t>
                      </a:r>
                      <a:r>
                        <a:rPr lang="en-GB" sz="1100" err="1"/>
                        <a:t>Supprimer</a:t>
                      </a:r>
                      <a:r>
                        <a:rPr lang="en-GB" sz="1100"/>
                        <a:t> Clermo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-0.2TCO2 (0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(0.280 M€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7546050"/>
                  </a:ext>
                </a:extLst>
              </a:tr>
              <a:tr h="244212">
                <a:tc>
                  <a:txBody>
                    <a:bodyPr/>
                    <a:lstStyle/>
                    <a:p>
                      <a:r>
                        <a:rPr lang="en-GB" sz="1100"/>
                        <a:t>2 – Clermont </a:t>
                      </a:r>
                      <a:r>
                        <a:rPr lang="en-GB" sz="1100">
                          <a:sym typeface="Wingdings" pitchFamily="2" charset="2"/>
                        </a:rPr>
                        <a:t> Rennes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-11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3 M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4626008"/>
                  </a:ext>
                </a:extLst>
              </a:tr>
              <a:tr h="229026">
                <a:tc>
                  <a:txBody>
                    <a:bodyPr/>
                    <a:lstStyle/>
                    <a:p>
                      <a:r>
                        <a:rPr lang="en-GB" sz="1100"/>
                        <a:t>3 – Reims </a:t>
                      </a:r>
                      <a:r>
                        <a:rPr lang="en-GB" sz="1100">
                          <a:sym typeface="Wingdings" pitchFamily="2" charset="2"/>
                        </a:rPr>
                        <a:t> Mulhouse &amp; Clermont  Rennes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-8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4.5 M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6068505"/>
                  </a:ext>
                </a:extLst>
              </a:tr>
            </a:tbl>
          </a:graphicData>
        </a:graphic>
      </p:graphicFrame>
      <p:pic>
        <p:nvPicPr>
          <p:cNvPr id="40" name="Picture 39" descr="Shape&#10;&#10;Description automatically generated with low confidence">
            <a:extLst>
              <a:ext uri="{FF2B5EF4-FFF2-40B4-BE49-F238E27FC236}">
                <a16:creationId xmlns:a16="http://schemas.microsoft.com/office/drawing/2014/main" id="{CA02D0AD-FF3E-2A4B-889B-76C36D3BE02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08" b="23090"/>
          <a:stretch/>
        </p:blipFill>
        <p:spPr>
          <a:xfrm>
            <a:off x="6565421" y="1446448"/>
            <a:ext cx="1222414" cy="83005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1554E87-91D5-8349-91C9-C400A3CF8C16}"/>
              </a:ext>
            </a:extLst>
          </p:cNvPr>
          <p:cNvSpPr txBox="1"/>
          <p:nvPr/>
        </p:nvSpPr>
        <p:spPr>
          <a:xfrm>
            <a:off x="11508059" y="524107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37893474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6BE81D-E633-0542-B9CD-B23FCB18D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latin typeface="Segoe UI Emoji"/>
                <a:ea typeface="Segoe UI Emoji"/>
              </a:rPr>
              <a:t>Solution Logistique | À long-terme, changement de business model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CA742EB-D564-C548-B4D1-034E48C7DF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33ECE94-7D97-4447-9283-9E989B7463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8460E81-D477-594C-921E-5473785ECD16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>
                <a:latin typeface="Segoe UI Emoji"/>
                <a:ea typeface="Segoe UI Emoji"/>
              </a:rPr>
              <a:t>Source : Donnée client, Analyse CentraleSupélec</a:t>
            </a: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FB30EA0B-3A6F-EC45-AA84-565FBC778F48}"/>
              </a:ext>
            </a:extLst>
          </p:cNvPr>
          <p:cNvSpPr txBox="1"/>
          <p:nvPr/>
        </p:nvSpPr>
        <p:spPr>
          <a:xfrm>
            <a:off x="554736" y="1199014"/>
            <a:ext cx="11082528" cy="46567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742020-AD1B-E142-8B2A-AD88849D7E77}"/>
              </a:ext>
            </a:extLst>
          </p:cNvPr>
          <p:cNvSpPr txBox="1"/>
          <p:nvPr/>
        </p:nvSpPr>
        <p:spPr>
          <a:xfrm>
            <a:off x="657922" y="1341175"/>
            <a:ext cx="5183075" cy="54338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err="1"/>
              <a:t>Projet</a:t>
            </a:r>
            <a:r>
              <a:rPr lang="en-GB"/>
              <a:t> </a:t>
            </a:r>
            <a:r>
              <a:rPr lang="en-GB" err="1"/>
              <a:t>Pilote</a:t>
            </a:r>
            <a:r>
              <a:rPr lang="en-GB"/>
              <a:t> – Lille - Backup</a:t>
            </a:r>
          </a:p>
        </p:txBody>
      </p:sp>
      <p:pic>
        <p:nvPicPr>
          <p:cNvPr id="10" name="Picture 9" descr="Chart, line chart&#10;&#10;Description automatically generated">
            <a:extLst>
              <a:ext uri="{FF2B5EF4-FFF2-40B4-BE49-F238E27FC236}">
                <a16:creationId xmlns:a16="http://schemas.microsoft.com/office/drawing/2014/main" id="{545ECCC6-B22F-5644-81F1-771801BA15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6833" y="2057324"/>
            <a:ext cx="3700301" cy="3301925"/>
          </a:xfrm>
          <a:prstGeom prst="rect">
            <a:avLst/>
          </a:prstGeom>
        </p:spPr>
      </p:pic>
      <p:pic>
        <p:nvPicPr>
          <p:cNvPr id="12" name="Picture 11" descr="Chart, box and whisker chart&#10;&#10;Description automatically generated">
            <a:extLst>
              <a:ext uri="{FF2B5EF4-FFF2-40B4-BE49-F238E27FC236}">
                <a16:creationId xmlns:a16="http://schemas.microsoft.com/office/drawing/2014/main" id="{14F765AE-B965-5D40-8429-0EC0BFD506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2891"/>
          <a:stretch/>
        </p:blipFill>
        <p:spPr>
          <a:xfrm>
            <a:off x="116324" y="2443128"/>
            <a:ext cx="6729643" cy="253031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852CC08-C8AE-5440-A6C1-6458BCB9F6E4}"/>
              </a:ext>
            </a:extLst>
          </p:cNvPr>
          <p:cNvSpPr txBox="1"/>
          <p:nvPr/>
        </p:nvSpPr>
        <p:spPr>
          <a:xfrm>
            <a:off x="7546833" y="1727200"/>
            <a:ext cx="3700301" cy="33012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600"/>
              <a:t>Part du fret : 10%tkm </a:t>
            </a:r>
            <a:r>
              <a:rPr lang="en-GB" sz="1600" err="1"/>
              <a:t>à</a:t>
            </a:r>
            <a:r>
              <a:rPr lang="en-GB" sz="1600"/>
              <a:t> 18% </a:t>
            </a:r>
            <a:r>
              <a:rPr lang="en-GB" sz="1600" err="1"/>
              <a:t>d’ici</a:t>
            </a:r>
            <a:r>
              <a:rPr lang="en-GB" sz="1600"/>
              <a:t> 203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41C7C5-5EEE-2747-8DC2-CF01C1509D37}"/>
              </a:ext>
            </a:extLst>
          </p:cNvPr>
          <p:cNvSpPr txBox="1"/>
          <p:nvPr/>
        </p:nvSpPr>
        <p:spPr>
          <a:xfrm>
            <a:off x="1201521" y="2113004"/>
            <a:ext cx="3700301" cy="33012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600" err="1"/>
              <a:t>Émission</a:t>
            </a:r>
            <a:r>
              <a:rPr lang="en-GB" sz="1600"/>
              <a:t> </a:t>
            </a:r>
            <a:r>
              <a:rPr lang="en-GB" sz="1600" err="1"/>
              <a:t>ferrovier</a:t>
            </a:r>
            <a:r>
              <a:rPr lang="en-GB" sz="1600"/>
              <a:t>: 25gCO2/km</a:t>
            </a:r>
          </a:p>
        </p:txBody>
      </p:sp>
    </p:spTree>
    <p:extLst>
      <p:ext uri="{BB962C8B-B14F-4D97-AF65-F5344CB8AC3E}">
        <p14:creationId xmlns:p14="http://schemas.microsoft.com/office/powerpoint/2010/main" val="12336385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85BC42A-9B54-4289-AE7D-C209B9067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alcul des émissions de Co2 et des coûts d'investissements par type de camions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976C204-25D0-44AA-90E5-9B397DDA4A0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995E654-14BE-4DDA-A1A6-DF48D543DA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Image 9" descr="Une image contenant table&#10;&#10;Description générée automatiquement">
            <a:extLst>
              <a:ext uri="{FF2B5EF4-FFF2-40B4-BE49-F238E27FC236}">
                <a16:creationId xmlns:a16="http://schemas.microsoft.com/office/drawing/2014/main" id="{0AD2548B-75B0-476C-9C73-354BCDD2CB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437" y="1503197"/>
            <a:ext cx="4079051" cy="1979531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E2D7A30F-C1D1-094B-A8A5-98C896D06143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>
                <a:latin typeface="Segoe UI Emoji" panose="020B0502040204020203" pitchFamily="34" charset="0"/>
                <a:ea typeface="Segoe UI Emoji" panose="020B0502040204020203" pitchFamily="34" charset="0"/>
              </a:rPr>
              <a:t>Source : Donnée client, Analyse </a:t>
            </a:r>
            <a:r>
              <a:rPr lang="fr-FR" sz="900" err="1">
                <a:latin typeface="Segoe UI Emoji" panose="020B0502040204020203" pitchFamily="34" charset="0"/>
                <a:ea typeface="Segoe UI Emoji" panose="020B0502040204020203" pitchFamily="34" charset="0"/>
              </a:rPr>
              <a:t>CentraleSupélec</a:t>
            </a:r>
            <a:endParaRPr lang="fr-FR" sz="9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pic>
        <p:nvPicPr>
          <p:cNvPr id="5" name="Image 5" descr="Une image contenant table&#10;&#10;Description générée automatiquement">
            <a:extLst>
              <a:ext uri="{FF2B5EF4-FFF2-40B4-BE49-F238E27FC236}">
                <a16:creationId xmlns:a16="http://schemas.microsoft.com/office/drawing/2014/main" id="{7444AEB7-236E-4290-AB4B-362FF0FA7F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8178" y="1329319"/>
            <a:ext cx="4304829" cy="2308472"/>
          </a:xfrm>
          <a:prstGeom prst="rect">
            <a:avLst/>
          </a:prstGeom>
        </p:spPr>
      </p:pic>
      <p:pic>
        <p:nvPicPr>
          <p:cNvPr id="12" name="Image 12" descr="Une image contenant table&#10;&#10;Description générée automatiquement">
            <a:extLst>
              <a:ext uri="{FF2B5EF4-FFF2-40B4-BE49-F238E27FC236}">
                <a16:creationId xmlns:a16="http://schemas.microsoft.com/office/drawing/2014/main" id="{ABD1C456-C09A-4D39-B7A3-37ED09977E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437" y="3974651"/>
            <a:ext cx="11021718" cy="1486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3004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8F9E331-7F11-4698-AD79-BC0EC8036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>
                <a:latin typeface="Segoe UI Emoji" panose="020B0502040204020203" pitchFamily="34" charset="0"/>
                <a:ea typeface="Segoe UI Emoji" panose="020B0502040204020203" pitchFamily="34" charset="0"/>
              </a:rPr>
              <a:t>Contexte</a:t>
            </a:r>
            <a:r>
              <a:rPr lang="en-GB">
                <a:latin typeface="Segoe UI Emoji" panose="020B0502040204020203" pitchFamily="34" charset="0"/>
                <a:ea typeface="Segoe UI Emoji" panose="020B0502040204020203" pitchFamily="34" charset="0"/>
              </a:rPr>
              <a:t> | LPD </a:t>
            </a:r>
            <a:r>
              <a:rPr lang="en-GB" err="1">
                <a:latin typeface="Segoe UI Emoji" panose="020B0502040204020203" pitchFamily="34" charset="0"/>
                <a:ea typeface="Segoe UI Emoji" panose="020B0502040204020203" pitchFamily="34" charset="0"/>
              </a:rPr>
              <a:t>souhaite</a:t>
            </a:r>
            <a:r>
              <a:rPr lang="en-GB">
                <a:latin typeface="Segoe UI Emoji" panose="020B0502040204020203" pitchFamily="34" charset="0"/>
                <a:ea typeface="Segoe UI Emoji" panose="020B0502040204020203" pitchFamily="34" charset="0"/>
              </a:rPr>
              <a:t> revoir </a:t>
            </a:r>
            <a:r>
              <a:rPr lang="en-GB" err="1">
                <a:latin typeface="Segoe UI Emoji" panose="020B0502040204020203" pitchFamily="34" charset="0"/>
                <a:ea typeface="Segoe UI Emoji" panose="020B0502040204020203" pitchFamily="34" charset="0"/>
              </a:rPr>
              <a:t>sa</a:t>
            </a:r>
            <a:r>
              <a:rPr lang="en-GB">
                <a:latin typeface="Segoe UI Emoji" panose="020B0502040204020203" pitchFamily="34" charset="0"/>
                <a:ea typeface="Segoe UI Emoji" panose="020B0502040204020203" pitchFamily="34" charset="0"/>
              </a:rPr>
              <a:t> </a:t>
            </a:r>
            <a:r>
              <a:rPr lang="en-GB" err="1">
                <a:latin typeface="Segoe UI Emoji" panose="020B0502040204020203" pitchFamily="34" charset="0"/>
                <a:ea typeface="Segoe UI Emoji" panose="020B0502040204020203" pitchFamily="34" charset="0"/>
              </a:rPr>
              <a:t>stratégie</a:t>
            </a:r>
            <a:r>
              <a:rPr lang="en-GB">
                <a:latin typeface="Segoe UI Emoji" panose="020B0502040204020203" pitchFamily="34" charset="0"/>
                <a:ea typeface="Segoe UI Emoji" panose="020B0502040204020203" pitchFamily="34" charset="0"/>
              </a:rPr>
              <a:t> de reduction des </a:t>
            </a:r>
            <a:r>
              <a:rPr lang="en-GB" err="1">
                <a:latin typeface="Segoe UI Emoji" panose="020B0502040204020203" pitchFamily="34" charset="0"/>
                <a:ea typeface="Segoe UI Emoji" panose="020B0502040204020203" pitchFamily="34" charset="0"/>
              </a:rPr>
              <a:t>émissions</a:t>
            </a:r>
            <a:r>
              <a:rPr lang="en-GB">
                <a:latin typeface="Segoe UI Emoji" panose="020B0502040204020203" pitchFamily="34" charset="0"/>
                <a:ea typeface="Segoe UI Emoji" panose="020B0502040204020203" pitchFamily="34" charset="0"/>
              </a:rPr>
              <a:t> de CO</a:t>
            </a:r>
            <a:r>
              <a:rPr lang="en-GB" baseline="-25000">
                <a:latin typeface="Segoe UI Emoji" panose="020B0502040204020203" pitchFamily="34" charset="0"/>
                <a:ea typeface="Segoe UI Emoji" panose="020B0502040204020203" pitchFamily="34" charset="0"/>
              </a:rPr>
              <a:t>2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3826D1A-AD68-4EC6-AA25-9E7A607AB8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367EB01-331B-6B4A-8860-46FA979D28C7}"/>
              </a:ext>
            </a:extLst>
          </p:cNvPr>
          <p:cNvSpPr txBox="1"/>
          <p:nvPr/>
        </p:nvSpPr>
        <p:spPr>
          <a:xfrm>
            <a:off x="8984525" y="227084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9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281D9687-9C7F-BB45-82EE-B436957FB774}"/>
              </a:ext>
            </a:extLst>
          </p:cNvPr>
          <p:cNvCxnSpPr>
            <a:cxnSpLocks/>
          </p:cNvCxnSpPr>
          <p:nvPr/>
        </p:nvCxnSpPr>
        <p:spPr>
          <a:xfrm>
            <a:off x="3952875" y="4800600"/>
            <a:ext cx="428625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A316F92A-DA05-2D42-853C-DD1E4962E9F7}"/>
              </a:ext>
            </a:extLst>
          </p:cNvPr>
          <p:cNvSpPr txBox="1"/>
          <p:nvPr/>
        </p:nvSpPr>
        <p:spPr>
          <a:xfrm>
            <a:off x="896040" y="1407034"/>
            <a:ext cx="2267942" cy="49244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600" b="1">
                <a:latin typeface="Segoe UI Emoji" panose="020B0502040204020203" pitchFamily="34" charset="0"/>
                <a:ea typeface="Segoe UI Emoji" panose="020B0502040204020203" pitchFamily="34" charset="0"/>
              </a:rPr>
              <a:t>LPD, distributeur de colis en France…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A4B03BB-AC66-A948-B71B-8EE725C6CDDD}"/>
              </a:ext>
            </a:extLst>
          </p:cNvPr>
          <p:cNvSpPr txBox="1"/>
          <p:nvPr/>
        </p:nvSpPr>
        <p:spPr>
          <a:xfrm>
            <a:off x="4337044" y="1405774"/>
            <a:ext cx="3460275" cy="49244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600" b="1">
                <a:latin typeface="Segoe UI Emoji" panose="020B0502040204020203" pitchFamily="34" charset="0"/>
                <a:ea typeface="Segoe UI Emoji" panose="020B0502040204020203" pitchFamily="34" charset="0"/>
              </a:rPr>
              <a:t>…souhaite comprendre son impact économique et environnemental…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DF1E9CBD-5EBE-234F-85D7-2B2D35540411}"/>
                  </a:ext>
                </a:extLst>
              </p:cNvPr>
              <p:cNvSpPr txBox="1"/>
              <p:nvPr/>
            </p:nvSpPr>
            <p:spPr>
              <a:xfrm>
                <a:off x="8342787" y="1408284"/>
                <a:ext cx="3294478" cy="492443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sp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fr-FR" sz="1600" b="1">
                    <a:solidFill>
                      <a:schemeClr val="tx1"/>
                    </a:solidFill>
                    <a:latin typeface="Segoe UI Emoji" panose="020B0502040204020203" pitchFamily="34" charset="0"/>
                    <a:ea typeface="Segoe UI Emoji" panose="020B0502040204020203" pitchFamily="34" charset="0"/>
                  </a:rPr>
                  <a:t>…pour définir une stratégie durable de réduction des émissions d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1600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600" b="1" i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𝐂𝐎</m:t>
                        </m:r>
                      </m:e>
                      <m:sub>
                        <m:r>
                          <a:rPr lang="fr-FR" sz="1600" b="1" i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</m:oMath>
                </a14:m>
                <a:r>
                  <a:rPr lang="fr-FR" sz="1600" b="1">
                    <a:solidFill>
                      <a:schemeClr val="tx1"/>
                    </a:solidFill>
                    <a:latin typeface="Segoe UI Emoji" panose="020B0502040204020203" pitchFamily="34" charset="0"/>
                    <a:ea typeface="Segoe UI Emoji" panose="020B0502040204020203" pitchFamily="34" charset="0"/>
                  </a:rPr>
                  <a:t>  </a:t>
                </a:r>
              </a:p>
            </p:txBody>
          </p:sp>
        </mc:Choice>
        <mc:Fallback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DF1E9CBD-5EBE-234F-85D7-2B2D355404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42787" y="1408284"/>
                <a:ext cx="3294478" cy="492443"/>
              </a:xfrm>
              <a:prstGeom prst="rect">
                <a:avLst/>
              </a:prstGeom>
              <a:blipFill>
                <a:blip r:embed="rId3"/>
                <a:stretch>
                  <a:fillRect l="-1481" t="-13580" r="-2222" b="-23457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Ellipse 11">
            <a:extLst>
              <a:ext uri="{FF2B5EF4-FFF2-40B4-BE49-F238E27FC236}">
                <a16:creationId xmlns:a16="http://schemas.microsoft.com/office/drawing/2014/main" id="{B0D31744-ECCC-1940-8218-45C11BD20EE4}"/>
              </a:ext>
            </a:extLst>
          </p:cNvPr>
          <p:cNvSpPr/>
          <p:nvPr/>
        </p:nvSpPr>
        <p:spPr>
          <a:xfrm>
            <a:off x="4845586" y="2078722"/>
            <a:ext cx="2500829" cy="2512041"/>
          </a:xfrm>
          <a:prstGeom prst="ellipse">
            <a:avLst/>
          </a:prstGeom>
          <a:solidFill>
            <a:srgbClr val="5B7E9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60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€27M de revenu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60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€800k de profit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600" dirty="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4100 </a:t>
            </a:r>
            <a:r>
              <a:rPr lang="fr-FR" sz="160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TCO</a:t>
            </a:r>
            <a:r>
              <a:rPr lang="fr-FR" sz="1600" baseline="-2500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2 </a:t>
            </a:r>
            <a:r>
              <a:rPr lang="fr-FR" sz="160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eq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48EC6332-7BC8-2548-B292-76C3F48E5FE1}"/>
              </a:ext>
            </a:extLst>
          </p:cNvPr>
          <p:cNvSpPr/>
          <p:nvPr/>
        </p:nvSpPr>
        <p:spPr>
          <a:xfrm>
            <a:off x="751225" y="2078722"/>
            <a:ext cx="2500829" cy="2512041"/>
          </a:xfrm>
          <a:prstGeom prst="ellipse">
            <a:avLst/>
          </a:prstGeom>
          <a:solidFill>
            <a:srgbClr val="50848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60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970k colis livré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60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5 entrepôt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600">
                <a:solidFill>
                  <a:schemeClr val="bg1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250 camion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4A9BB611-0050-8F43-86B0-4E79C76C18BB}"/>
                  </a:ext>
                </a:extLst>
              </p:cNvPr>
              <p:cNvSpPr/>
              <p:nvPr/>
            </p:nvSpPr>
            <p:spPr>
              <a:xfrm>
                <a:off x="8939947" y="2078722"/>
                <a:ext cx="2500829" cy="2512041"/>
              </a:xfrm>
              <a:prstGeom prst="ellipse">
                <a:avLst/>
              </a:prstGeom>
              <a:solidFill>
                <a:srgbClr val="7F7F7F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fr-FR" sz="1600">
                    <a:solidFill>
                      <a:schemeClr val="bg1"/>
                    </a:solidFill>
                    <a:latin typeface="Segoe UI Emoji" panose="020B0502040204020203" pitchFamily="34" charset="0"/>
                    <a:ea typeface="Segoe UI Emoji" panose="020B0502040204020203" pitchFamily="34" charset="0"/>
                  </a:rPr>
                  <a:t>Minimisation de l’émission pa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fr-FR" sz="1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fr-FR" sz="1600" b="0" i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p>
                        <m:r>
                          <a:rPr lang="fr-FR" sz="1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fr-FR" sz="1600">
                    <a:solidFill>
                      <a:schemeClr val="bg1"/>
                    </a:solidFill>
                    <a:latin typeface="Segoe UI Emoji" panose="020B0502040204020203" pitchFamily="34" charset="0"/>
                    <a:ea typeface="Segoe UI Emoji" panose="020B0502040204020203" pitchFamily="34" charset="0"/>
                  </a:rPr>
                  <a:t> de colis livré</a:t>
                </a:r>
              </a:p>
            </p:txBody>
          </p:sp>
        </mc:Choice>
        <mc:Fallback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4A9BB611-0050-8F43-86B0-4E79C76C18B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39947" y="2078722"/>
                <a:ext cx="2500829" cy="2512041"/>
              </a:xfrm>
              <a:prstGeom prst="ellipse">
                <a:avLst/>
              </a:prstGeom>
              <a:blipFill>
                <a:blip r:embed="rId4"/>
                <a:stretch>
                  <a:fillRect/>
                </a:stretch>
              </a:blipFill>
              <a:ln w="6350" cap="sq">
                <a:noFill/>
                <a:miter lim="800000"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Flèche vers la droite 28">
            <a:extLst>
              <a:ext uri="{FF2B5EF4-FFF2-40B4-BE49-F238E27FC236}">
                <a16:creationId xmlns:a16="http://schemas.microsoft.com/office/drawing/2014/main" id="{1064C550-0CF1-CD4B-9617-3C93426460F6}"/>
              </a:ext>
            </a:extLst>
          </p:cNvPr>
          <p:cNvSpPr/>
          <p:nvPr/>
        </p:nvSpPr>
        <p:spPr>
          <a:xfrm>
            <a:off x="3780215" y="3134717"/>
            <a:ext cx="537210" cy="400050"/>
          </a:xfrm>
          <a:prstGeom prst="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30" name="Flèche vers la droite 29">
            <a:extLst>
              <a:ext uri="{FF2B5EF4-FFF2-40B4-BE49-F238E27FC236}">
                <a16:creationId xmlns:a16="http://schemas.microsoft.com/office/drawing/2014/main" id="{EABED2F7-B738-314A-945A-C0443A6E12C7}"/>
              </a:ext>
            </a:extLst>
          </p:cNvPr>
          <p:cNvSpPr/>
          <p:nvPr/>
        </p:nvSpPr>
        <p:spPr>
          <a:xfrm>
            <a:off x="7874576" y="3134717"/>
            <a:ext cx="537210" cy="400050"/>
          </a:xfrm>
          <a:prstGeom prst="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EC38007E-E05C-7F40-85E6-362EBC71EC91}"/>
              </a:ext>
            </a:extLst>
          </p:cNvPr>
          <p:cNvSpPr txBox="1"/>
          <p:nvPr/>
        </p:nvSpPr>
        <p:spPr>
          <a:xfrm>
            <a:off x="3713325" y="4887327"/>
            <a:ext cx="4765343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600" b="1">
                <a:latin typeface="Segoe UI Emoji" panose="020B0502040204020203" pitchFamily="34" charset="0"/>
                <a:ea typeface="Segoe UI Emoji" panose="020B0502040204020203" pitchFamily="34" charset="0"/>
              </a:rPr>
              <a:t>Quelques hypothèses qui ont guidé notre analyse</a:t>
            </a:r>
          </a:p>
        </p:txBody>
      </p: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CCC2C59C-7C5E-8444-B06D-CADF8E320C36}"/>
              </a:ext>
            </a:extLst>
          </p:cNvPr>
          <p:cNvGrpSpPr/>
          <p:nvPr/>
        </p:nvGrpSpPr>
        <p:grpSpPr>
          <a:xfrm>
            <a:off x="1298250" y="5320223"/>
            <a:ext cx="1463521" cy="868998"/>
            <a:chOff x="1988339" y="5320224"/>
            <a:chExt cx="1463521" cy="868998"/>
          </a:xfrm>
        </p:grpSpPr>
        <p:sp>
          <p:nvSpPr>
            <p:cNvPr id="28" name="Rectangle : coins arrondis 27">
              <a:extLst>
                <a:ext uri="{FF2B5EF4-FFF2-40B4-BE49-F238E27FC236}">
                  <a16:creationId xmlns:a16="http://schemas.microsoft.com/office/drawing/2014/main" id="{A729A842-18F2-9A4E-8CA9-0BE0C244D9D7}"/>
                </a:ext>
              </a:extLst>
            </p:cNvPr>
            <p:cNvSpPr/>
            <p:nvPr/>
          </p:nvSpPr>
          <p:spPr>
            <a:xfrm>
              <a:off x="1988339" y="5320224"/>
              <a:ext cx="1463521" cy="372829"/>
            </a:xfrm>
            <a:prstGeom prst="roundRect">
              <a:avLst/>
            </a:prstGeom>
            <a:solidFill>
              <a:srgbClr val="051C2C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fr-FR" sz="1600">
                  <a:solidFill>
                    <a:schemeClr val="bg1"/>
                  </a:solidFill>
                  <a:latin typeface="Segoe UI Emoji" panose="020B0502040204020203" pitchFamily="34" charset="0"/>
                  <a:ea typeface="Segoe UI Emoji" panose="020B0502040204020203" pitchFamily="34" charset="0"/>
                </a:rPr>
                <a:t>Périmètre</a:t>
              </a:r>
            </a:p>
          </p:txBody>
        </p:sp>
        <p:sp>
          <p:nvSpPr>
            <p:cNvPr id="36" name="ZoneTexte 35">
              <a:extLst>
                <a:ext uri="{FF2B5EF4-FFF2-40B4-BE49-F238E27FC236}">
                  <a16:creationId xmlns:a16="http://schemas.microsoft.com/office/drawing/2014/main" id="{400EEF72-9F7D-3942-A422-46F6D50165FE}"/>
                </a:ext>
              </a:extLst>
            </p:cNvPr>
            <p:cNvSpPr txBox="1"/>
            <p:nvPr/>
          </p:nvSpPr>
          <p:spPr>
            <a:xfrm>
              <a:off x="2156935" y="5816394"/>
              <a:ext cx="1126328" cy="372828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fr-FR" sz="1200">
                  <a:latin typeface="Segoe UI Emoji" panose="020B0502040204020203" pitchFamily="34" charset="0"/>
                  <a:ea typeface="Segoe UI Emoji" panose="020B0502040204020203" pitchFamily="34" charset="0"/>
                </a:rPr>
                <a:t>LPD doit honorer toutes les commandes</a:t>
              </a:r>
              <a:br>
                <a:rPr lang="fr-FR" sz="1200">
                  <a:latin typeface="Segoe UI Emoji" panose="020B0502040204020203" pitchFamily="34" charset="0"/>
                  <a:ea typeface="Segoe UI Emoji" panose="020B0502040204020203" pitchFamily="34" charset="0"/>
                </a:rPr>
              </a:br>
              <a:r>
                <a:rPr lang="fr-FR" sz="1200">
                  <a:latin typeface="Segoe UI Emoji" panose="020B0502040204020203" pitchFamily="34" charset="0"/>
                  <a:ea typeface="Segoe UI Emoji" panose="020B0502040204020203" pitchFamily="34" charset="0"/>
                </a:rPr>
                <a:t>La taille des colis est fixée</a:t>
              </a:r>
            </a:p>
          </p:txBody>
        </p:sp>
      </p:grp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ECE0E153-39D5-F54B-87E3-CCEB88606FFE}"/>
              </a:ext>
            </a:extLst>
          </p:cNvPr>
          <p:cNvGrpSpPr/>
          <p:nvPr/>
        </p:nvGrpSpPr>
        <p:grpSpPr>
          <a:xfrm>
            <a:off x="5475201" y="5320223"/>
            <a:ext cx="1183959" cy="860835"/>
            <a:chOff x="5491161" y="5320224"/>
            <a:chExt cx="1183959" cy="860835"/>
          </a:xfrm>
        </p:grpSpPr>
        <p:sp>
          <p:nvSpPr>
            <p:cNvPr id="33" name="Rectangle : coins arrondis 32">
              <a:extLst>
                <a:ext uri="{FF2B5EF4-FFF2-40B4-BE49-F238E27FC236}">
                  <a16:creationId xmlns:a16="http://schemas.microsoft.com/office/drawing/2014/main" id="{E2368114-964D-5C43-ABF6-EA670A0A2503}"/>
                </a:ext>
              </a:extLst>
            </p:cNvPr>
            <p:cNvSpPr/>
            <p:nvPr/>
          </p:nvSpPr>
          <p:spPr>
            <a:xfrm>
              <a:off x="5491161" y="5320224"/>
              <a:ext cx="1183959" cy="372829"/>
            </a:xfrm>
            <a:prstGeom prst="roundRect">
              <a:avLst/>
            </a:prstGeom>
            <a:solidFill>
              <a:srgbClr val="051C2C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fr-FR" sz="1600">
                  <a:solidFill>
                    <a:schemeClr val="bg1"/>
                  </a:solidFill>
                  <a:latin typeface="Segoe UI Emoji" panose="020B0502040204020203" pitchFamily="34" charset="0"/>
                  <a:ea typeface="Segoe UI Emoji" panose="020B0502040204020203" pitchFamily="34" charset="0"/>
                </a:rPr>
                <a:t>Logistique</a:t>
              </a:r>
            </a:p>
          </p:txBody>
        </p:sp>
        <p:sp>
          <p:nvSpPr>
            <p:cNvPr id="38" name="ZoneTexte 37">
              <a:extLst>
                <a:ext uri="{FF2B5EF4-FFF2-40B4-BE49-F238E27FC236}">
                  <a16:creationId xmlns:a16="http://schemas.microsoft.com/office/drawing/2014/main" id="{DFB8B986-D9E0-8045-8D37-DFFCE3D23EB3}"/>
                </a:ext>
              </a:extLst>
            </p:cNvPr>
            <p:cNvSpPr txBox="1"/>
            <p:nvPr/>
          </p:nvSpPr>
          <p:spPr>
            <a:xfrm>
              <a:off x="5491161" y="5808231"/>
              <a:ext cx="1126328" cy="372828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fr-FR" sz="1200">
                  <a:latin typeface="Segoe UI Emoji" panose="020B0502040204020203" pitchFamily="34" charset="0"/>
                  <a:ea typeface="Segoe UI Emoji" panose="020B0502040204020203" pitchFamily="34" charset="0"/>
                </a:rPr>
                <a:t>Les stocks sont infinis</a:t>
              </a:r>
              <a:br>
                <a:rPr lang="fr-FR" sz="1200">
                  <a:latin typeface="Segoe UI Emoji" panose="020B0502040204020203" pitchFamily="34" charset="0"/>
                  <a:ea typeface="Segoe UI Emoji" panose="020B0502040204020203" pitchFamily="34" charset="0"/>
                </a:rPr>
              </a:br>
              <a:r>
                <a:rPr lang="fr-FR" sz="1200">
                  <a:latin typeface="Segoe UI Emoji" panose="020B0502040204020203" pitchFamily="34" charset="0"/>
                  <a:ea typeface="Segoe UI Emoji" panose="020B0502040204020203" pitchFamily="34" charset="0"/>
                </a:rPr>
                <a:t>Un camion est alloué à un unique entrepôt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88E5A9C-0491-3F4F-82D3-932F78BE4F02}"/>
              </a:ext>
            </a:extLst>
          </p:cNvPr>
          <p:cNvGrpSpPr/>
          <p:nvPr/>
        </p:nvGrpSpPr>
        <p:grpSpPr>
          <a:xfrm>
            <a:off x="9063791" y="5320223"/>
            <a:ext cx="2253137" cy="867251"/>
            <a:chOff x="8471813" y="5320223"/>
            <a:chExt cx="2253137" cy="867251"/>
          </a:xfrm>
        </p:grpSpPr>
        <p:sp>
          <p:nvSpPr>
            <p:cNvPr id="34" name="Rectangle : coins arrondis 33">
              <a:extLst>
                <a:ext uri="{FF2B5EF4-FFF2-40B4-BE49-F238E27FC236}">
                  <a16:creationId xmlns:a16="http://schemas.microsoft.com/office/drawing/2014/main" id="{902B1924-5546-334B-95C5-C8ED61086F6E}"/>
                </a:ext>
              </a:extLst>
            </p:cNvPr>
            <p:cNvSpPr/>
            <p:nvPr/>
          </p:nvSpPr>
          <p:spPr>
            <a:xfrm>
              <a:off x="9006403" y="5320223"/>
              <a:ext cx="1183959" cy="372829"/>
            </a:xfrm>
            <a:prstGeom prst="roundRect">
              <a:avLst/>
            </a:prstGeom>
            <a:solidFill>
              <a:srgbClr val="051C2C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fr-FR" sz="1600">
                  <a:solidFill>
                    <a:schemeClr val="bg1"/>
                  </a:solidFill>
                  <a:latin typeface="Segoe UI Emoji" panose="020B0502040204020203" pitchFamily="34" charset="0"/>
                  <a:ea typeface="Segoe UI Emoji" panose="020B0502040204020203" pitchFamily="34" charset="0"/>
                </a:rPr>
                <a:t>Calcul</a:t>
              </a:r>
            </a:p>
          </p:txBody>
        </p:sp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6AD4B2D0-960E-D94C-B492-8BB6ABD6D4BB}"/>
                </a:ext>
              </a:extLst>
            </p:cNvPr>
            <p:cNvSpPr txBox="1"/>
            <p:nvPr/>
          </p:nvSpPr>
          <p:spPr>
            <a:xfrm>
              <a:off x="8471813" y="5818142"/>
              <a:ext cx="2253137" cy="36933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fr-FR" sz="1200">
                  <a:latin typeface="Segoe UI Emoji" panose="020B0502040204020203" pitchFamily="34" charset="0"/>
                  <a:ea typeface="Segoe UI Emoji" panose="020B0502040204020203" pitchFamily="34" charset="0"/>
                </a:rPr>
                <a:t>Les camions roulent au diesel  Poids constant des camions</a:t>
              </a:r>
            </a:p>
          </p:txBody>
        </p:sp>
      </p:grpSp>
      <p:pic>
        <p:nvPicPr>
          <p:cNvPr id="15" name="Graphic 14" descr="Truck outline">
            <a:extLst>
              <a:ext uri="{FF2B5EF4-FFF2-40B4-BE49-F238E27FC236}">
                <a16:creationId xmlns:a16="http://schemas.microsoft.com/office/drawing/2014/main" id="{9F7AD5B9-5324-1247-A283-DE29CE21E0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24010" y="2182101"/>
            <a:ext cx="612000" cy="612000"/>
          </a:xfrm>
          <a:prstGeom prst="rect">
            <a:avLst/>
          </a:prstGeom>
        </p:spPr>
      </p:pic>
      <p:pic>
        <p:nvPicPr>
          <p:cNvPr id="22" name="Graphic 21" descr="Clipboard Partially Ticked outline">
            <a:extLst>
              <a:ext uri="{FF2B5EF4-FFF2-40B4-BE49-F238E27FC236}">
                <a16:creationId xmlns:a16="http://schemas.microsoft.com/office/drawing/2014/main" id="{1EE7BDED-0CB6-A14F-88E7-D8C23719D4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89996" y="2182101"/>
            <a:ext cx="612000" cy="612000"/>
          </a:xfrm>
          <a:prstGeom prst="rect">
            <a:avLst/>
          </a:prstGeom>
        </p:spPr>
      </p:pic>
      <p:pic>
        <p:nvPicPr>
          <p:cNvPr id="37" name="Graphic 36" descr="Open hand with plant outline">
            <a:extLst>
              <a:ext uri="{FF2B5EF4-FFF2-40B4-BE49-F238E27FC236}">
                <a16:creationId xmlns:a16="http://schemas.microsoft.com/office/drawing/2014/main" id="{0058B094-7EFE-F248-AC73-C89B9ABBBE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84359" y="2182101"/>
            <a:ext cx="612000" cy="612000"/>
          </a:xfrm>
          <a:prstGeom prst="rect">
            <a:avLst/>
          </a:prstGeom>
        </p:spPr>
      </p:pic>
      <p:sp>
        <p:nvSpPr>
          <p:cNvPr id="46" name="ZoneTexte 45">
            <a:extLst>
              <a:ext uri="{FF2B5EF4-FFF2-40B4-BE49-F238E27FC236}">
                <a16:creationId xmlns:a16="http://schemas.microsoft.com/office/drawing/2014/main" id="{A61AB7D0-E74F-2A4E-BBA9-901E3620E272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>
                <a:latin typeface="Segoe UI Emoji" panose="020B0502040204020203" pitchFamily="34" charset="0"/>
                <a:ea typeface="Segoe UI Emoji" panose="020B0502040204020203" pitchFamily="34" charset="0"/>
              </a:rPr>
              <a:t>Source : Donnée client, Analyse </a:t>
            </a:r>
            <a:r>
              <a:rPr lang="fr-FR" sz="900" err="1">
                <a:latin typeface="Segoe UI Emoji" panose="020B0502040204020203" pitchFamily="34" charset="0"/>
                <a:ea typeface="Segoe UI Emoji" panose="020B0502040204020203" pitchFamily="34" charset="0"/>
              </a:rPr>
              <a:t>CentraleSupélec</a:t>
            </a:r>
            <a:endParaRPr lang="fr-FR" sz="9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2781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F5957F1-4848-5D4C-83D4-6091BF4C2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latin typeface="Segoe UI Emoji"/>
                <a:ea typeface="Segoe UI Emoji"/>
              </a:rPr>
              <a:t>Plan d’action | LPD peut réduire son impact carbone facilement à court terme, puis lancer des initiatives à plus long term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88C3BA1-757B-2547-9150-8BCB7FB0320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>
                <a:highlight>
                  <a:srgbClr val="FFFF00"/>
                </a:highlight>
              </a:rPr>
              <a:t>Back-up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AB1BD60-D272-CB47-ACF0-968A17B37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912B0A43-E27E-1946-B76A-A8BF73A465CF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>
                <a:latin typeface="Segoe UI Emoji"/>
                <a:ea typeface="Segoe UI Emoji"/>
              </a:rPr>
              <a:t>Source : Donnée client, Analyse CentraleSupélec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85BAA21-40FB-2C46-BF97-4FC283025B40}"/>
              </a:ext>
            </a:extLst>
          </p:cNvPr>
          <p:cNvSpPr txBox="1"/>
          <p:nvPr/>
        </p:nvSpPr>
        <p:spPr>
          <a:xfrm>
            <a:off x="1168400" y="18542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16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EBCAF1D-1DBE-5145-A924-0B11EF4F7727}"/>
              </a:ext>
            </a:extLst>
          </p:cNvPr>
          <p:cNvSpPr txBox="1"/>
          <p:nvPr/>
        </p:nvSpPr>
        <p:spPr>
          <a:xfrm>
            <a:off x="554734" y="1935226"/>
            <a:ext cx="4304371" cy="163922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600" b="1" err="1"/>
              <a:t>Hypothèses</a:t>
            </a:r>
            <a:endParaRPr lang="en-GB" sz="1600" b="1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600" err="1"/>
              <a:t>Coût</a:t>
            </a:r>
            <a:r>
              <a:rPr lang="en-GB" sz="1600"/>
              <a:t> variable : 25% </a:t>
            </a:r>
            <a:r>
              <a:rPr lang="en-GB" sz="1600" err="1"/>
              <a:t>année</a:t>
            </a:r>
            <a:r>
              <a:rPr lang="en-GB" sz="1600"/>
              <a:t> 0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600" err="1"/>
              <a:t>Coût</a:t>
            </a:r>
            <a:r>
              <a:rPr lang="en-GB" sz="1600"/>
              <a:t> fixe, </a:t>
            </a:r>
            <a:r>
              <a:rPr lang="en-GB" sz="1600" err="1"/>
              <a:t>coût</a:t>
            </a:r>
            <a:r>
              <a:rPr lang="en-GB" sz="1600"/>
              <a:t> variable </a:t>
            </a:r>
            <a:r>
              <a:rPr lang="en-GB" sz="1600" err="1"/>
              <a:t>usuel</a:t>
            </a:r>
            <a:r>
              <a:rPr lang="en-GB" sz="1600"/>
              <a:t>, </a:t>
            </a:r>
            <a:r>
              <a:rPr lang="en-GB" sz="1600" err="1"/>
              <a:t>Revenu</a:t>
            </a:r>
            <a:r>
              <a:rPr lang="en-GB" sz="1600"/>
              <a:t>: CAGR de 10%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600"/>
              <a:t>CAPEX warehouse sur 3 an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endParaRPr lang="en-GB" sz="1600" b="1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B1325A3-0C01-CF4E-A55A-8F573DC24E22}"/>
              </a:ext>
            </a:extLst>
          </p:cNvPr>
          <p:cNvSpPr txBox="1"/>
          <p:nvPr/>
        </p:nvSpPr>
        <p:spPr>
          <a:xfrm>
            <a:off x="554734" y="3992763"/>
            <a:ext cx="4304371" cy="163922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600" b="1" err="1"/>
              <a:t>Résultats</a:t>
            </a:r>
            <a:endParaRPr lang="en-GB" sz="1600" b="1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600"/>
              <a:t>85000TCO2eq </a:t>
            </a:r>
            <a:r>
              <a:rPr lang="en-GB" sz="1600" err="1"/>
              <a:t>économisées</a:t>
            </a:r>
            <a:r>
              <a:rPr lang="en-GB" sz="1600"/>
              <a:t> sur 10 an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600"/>
              <a:t>110M€ de profits </a:t>
            </a:r>
            <a:r>
              <a:rPr lang="en-GB" sz="1600" err="1"/>
              <a:t>cumulés</a:t>
            </a:r>
            <a:r>
              <a:rPr lang="en-GB" sz="1600"/>
              <a:t> </a:t>
            </a:r>
            <a:r>
              <a:rPr lang="en-GB" sz="1600" err="1"/>
              <a:t>en</a:t>
            </a:r>
            <a:r>
              <a:rPr lang="en-GB" sz="1600"/>
              <a:t> plus sur 10 an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endParaRPr lang="en-GB" sz="1600" b="1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0112C0B-802B-8442-9EC6-0C786BD8DF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6519946"/>
              </p:ext>
            </p:extLst>
          </p:nvPr>
        </p:nvGraphicFramePr>
        <p:xfrm>
          <a:off x="5325041" y="1714233"/>
          <a:ext cx="6312223" cy="4131928"/>
        </p:xfrm>
        <a:graphic>
          <a:graphicData uri="http://schemas.openxmlformats.org/drawingml/2006/table">
            <a:tbl>
              <a:tblPr/>
              <a:tblGrid>
                <a:gridCol w="1014216">
                  <a:extLst>
                    <a:ext uri="{9D8B030D-6E8A-4147-A177-3AD203B41FA5}">
                      <a16:colId xmlns:a16="http://schemas.microsoft.com/office/drawing/2014/main" val="3241562128"/>
                    </a:ext>
                  </a:extLst>
                </a:gridCol>
                <a:gridCol w="481637">
                  <a:extLst>
                    <a:ext uri="{9D8B030D-6E8A-4147-A177-3AD203B41FA5}">
                      <a16:colId xmlns:a16="http://schemas.microsoft.com/office/drawing/2014/main" val="2001980964"/>
                    </a:ext>
                  </a:extLst>
                </a:gridCol>
                <a:gridCol w="481637">
                  <a:extLst>
                    <a:ext uri="{9D8B030D-6E8A-4147-A177-3AD203B41FA5}">
                      <a16:colId xmlns:a16="http://schemas.microsoft.com/office/drawing/2014/main" val="2671191832"/>
                    </a:ext>
                  </a:extLst>
                </a:gridCol>
                <a:gridCol w="481637">
                  <a:extLst>
                    <a:ext uri="{9D8B030D-6E8A-4147-A177-3AD203B41FA5}">
                      <a16:colId xmlns:a16="http://schemas.microsoft.com/office/drawing/2014/main" val="779233793"/>
                    </a:ext>
                  </a:extLst>
                </a:gridCol>
                <a:gridCol w="481637">
                  <a:extLst>
                    <a:ext uri="{9D8B030D-6E8A-4147-A177-3AD203B41FA5}">
                      <a16:colId xmlns:a16="http://schemas.microsoft.com/office/drawing/2014/main" val="968414231"/>
                    </a:ext>
                  </a:extLst>
                </a:gridCol>
                <a:gridCol w="481637">
                  <a:extLst>
                    <a:ext uri="{9D8B030D-6E8A-4147-A177-3AD203B41FA5}">
                      <a16:colId xmlns:a16="http://schemas.microsoft.com/office/drawing/2014/main" val="3588233775"/>
                    </a:ext>
                  </a:extLst>
                </a:gridCol>
                <a:gridCol w="481637">
                  <a:extLst>
                    <a:ext uri="{9D8B030D-6E8A-4147-A177-3AD203B41FA5}">
                      <a16:colId xmlns:a16="http://schemas.microsoft.com/office/drawing/2014/main" val="1069851134"/>
                    </a:ext>
                  </a:extLst>
                </a:gridCol>
                <a:gridCol w="481637">
                  <a:extLst>
                    <a:ext uri="{9D8B030D-6E8A-4147-A177-3AD203B41FA5}">
                      <a16:colId xmlns:a16="http://schemas.microsoft.com/office/drawing/2014/main" val="3670962013"/>
                    </a:ext>
                  </a:extLst>
                </a:gridCol>
                <a:gridCol w="481637">
                  <a:extLst>
                    <a:ext uri="{9D8B030D-6E8A-4147-A177-3AD203B41FA5}">
                      <a16:colId xmlns:a16="http://schemas.microsoft.com/office/drawing/2014/main" val="3743086492"/>
                    </a:ext>
                  </a:extLst>
                </a:gridCol>
                <a:gridCol w="481637">
                  <a:extLst>
                    <a:ext uri="{9D8B030D-6E8A-4147-A177-3AD203B41FA5}">
                      <a16:colId xmlns:a16="http://schemas.microsoft.com/office/drawing/2014/main" val="789608811"/>
                    </a:ext>
                  </a:extLst>
                </a:gridCol>
                <a:gridCol w="481637">
                  <a:extLst>
                    <a:ext uri="{9D8B030D-6E8A-4147-A177-3AD203B41FA5}">
                      <a16:colId xmlns:a16="http://schemas.microsoft.com/office/drawing/2014/main" val="52140399"/>
                    </a:ext>
                  </a:extLst>
                </a:gridCol>
                <a:gridCol w="481637">
                  <a:extLst>
                    <a:ext uri="{9D8B030D-6E8A-4147-A177-3AD203B41FA5}">
                      <a16:colId xmlns:a16="http://schemas.microsoft.com/office/drawing/2014/main" val="1857299232"/>
                    </a:ext>
                  </a:extLst>
                </a:gridCol>
              </a:tblGrid>
              <a:tr h="153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ées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805942"/>
                  </a:ext>
                </a:extLst>
              </a:tr>
              <a:tr h="194211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enu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00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40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4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7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6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96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66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23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75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32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062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956099"/>
                  </a:ext>
                </a:extLst>
              </a:tr>
              <a:tr h="194211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ût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00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0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1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5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4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15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52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38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52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41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14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698334"/>
                  </a:ext>
                </a:extLst>
              </a:tr>
              <a:tr h="303588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ût fixe usuel (inflation)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00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3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5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0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3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9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22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8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24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66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93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536308"/>
                  </a:ext>
                </a:extLst>
              </a:tr>
              <a:tr h="368689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ût variable usuel (CAGR 10%)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00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1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5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3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8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0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2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8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8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7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956821"/>
                  </a:ext>
                </a:extLst>
              </a:tr>
              <a:tr h="233593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Économie km trajets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8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1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0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7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3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12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0700617"/>
                  </a:ext>
                </a:extLst>
              </a:tr>
              <a:tr h="303588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Économie warehouse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346301"/>
                  </a:ext>
                </a:extLst>
              </a:tr>
              <a:tr h="233593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Économie camions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678954"/>
                  </a:ext>
                </a:extLst>
              </a:tr>
              <a:tr h="153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X total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5853204"/>
                  </a:ext>
                </a:extLst>
              </a:tr>
              <a:tr h="194211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X camion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144696"/>
                  </a:ext>
                </a:extLst>
              </a:tr>
              <a:tr h="194211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x entrepôt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8601438"/>
                  </a:ext>
                </a:extLst>
              </a:tr>
              <a:tr h="153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fit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0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2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7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1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5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2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5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7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864715"/>
                  </a:ext>
                </a:extLst>
              </a:tr>
              <a:tr h="153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fit op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0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9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3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1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22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1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1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4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3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12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1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810577"/>
                  </a:ext>
                </a:extLst>
              </a:tr>
              <a:tr h="194211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fit cumul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45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82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0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8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0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5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7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83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50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49741"/>
                  </a:ext>
                </a:extLst>
              </a:tr>
              <a:tr h="303588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ge opérationnelle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190231"/>
                  </a:ext>
                </a:extLst>
              </a:tr>
              <a:tr h="153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2 émis 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00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1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71906"/>
                  </a:ext>
                </a:extLst>
              </a:tr>
              <a:tr h="153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ge totale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3423" marR="3423" marT="34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9210290"/>
                  </a:ext>
                </a:extLst>
              </a:tr>
              <a:tr h="194211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CO2/€ revenu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F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3423" marR="3423" marT="34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9728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7780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8F9E331-7F11-4698-AD79-BC0EC8036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Segoe UI Emoji"/>
                <a:ea typeface="Segoe UI Emoji"/>
              </a:rPr>
              <a:t>Executive</a:t>
            </a:r>
            <a:r>
              <a:rPr lang="fr-FR">
                <a:latin typeface="Segoe UI Emoji"/>
                <a:ea typeface="Segoe UI Emoji"/>
              </a:rPr>
              <a:t> </a:t>
            </a:r>
            <a:r>
              <a:rPr lang="en-GB">
                <a:latin typeface="Segoe UI Emoji"/>
                <a:ea typeface="Segoe UI Emoji"/>
              </a:rPr>
              <a:t>Summary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3826D1A-AD68-4EC6-AA25-9E7A607AB8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231DBB-DF46-43AC-B69F-48D1DA138FBB}"/>
              </a:ext>
            </a:extLst>
          </p:cNvPr>
          <p:cNvSpPr txBox="1"/>
          <p:nvPr/>
        </p:nvSpPr>
        <p:spPr>
          <a:xfrm>
            <a:off x="554736" y="1199014"/>
            <a:ext cx="11082528" cy="190040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6EEF60F-8663-4095-8620-B626EC6C98EF}"/>
              </a:ext>
            </a:extLst>
          </p:cNvPr>
          <p:cNvSpPr txBox="1"/>
          <p:nvPr/>
        </p:nvSpPr>
        <p:spPr bwMode="gray">
          <a:xfrm>
            <a:off x="544227" y="1172861"/>
            <a:ext cx="11074451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/>
          <a:p>
            <a:r>
              <a:rPr lang="fr-FR" sz="1600"/>
              <a:t>Quelles initiatives LPD peut mettre en œuvre pour réduire son impact environnemental tout en conservant une situation pérenne financièrement ?​</a:t>
            </a:r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01036CA-0E3F-4C1A-97FE-EC8B3164D91B}"/>
              </a:ext>
            </a:extLst>
          </p:cNvPr>
          <p:cNvGrpSpPr/>
          <p:nvPr/>
        </p:nvGrpSpPr>
        <p:grpSpPr>
          <a:xfrm>
            <a:off x="560524" y="4379833"/>
            <a:ext cx="9532315" cy="658329"/>
            <a:chOff x="560524" y="4400852"/>
            <a:chExt cx="9532315" cy="658329"/>
          </a:xfrm>
        </p:grpSpPr>
        <p:sp>
          <p:nvSpPr>
            <p:cNvPr id="26" name="Autre processus 25">
              <a:extLst>
                <a:ext uri="{FF2B5EF4-FFF2-40B4-BE49-F238E27FC236}">
                  <a16:creationId xmlns:a16="http://schemas.microsoft.com/office/drawing/2014/main" id="{966CE610-1B4E-7B48-B054-74F58B1F6E87}"/>
                </a:ext>
              </a:extLst>
            </p:cNvPr>
            <p:cNvSpPr/>
            <p:nvPr/>
          </p:nvSpPr>
          <p:spPr>
            <a:xfrm>
              <a:off x="560524" y="4418655"/>
              <a:ext cx="471631" cy="622722"/>
            </a:xfrm>
            <a:prstGeom prst="flowChartAlternateProcess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GB" sz="2000" b="1">
                  <a:solidFill>
                    <a:schemeClr val="bg1"/>
                  </a:solidFill>
                </a:rPr>
                <a:t>2</a:t>
              </a:r>
            </a:p>
          </p:txBody>
        </p: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547BAEDF-408F-7D45-99BD-56A139082F8F}"/>
                </a:ext>
              </a:extLst>
            </p:cNvPr>
            <p:cNvGrpSpPr/>
            <p:nvPr/>
          </p:nvGrpSpPr>
          <p:grpSpPr>
            <a:xfrm>
              <a:off x="1090494" y="4400852"/>
              <a:ext cx="7987802" cy="658329"/>
              <a:chOff x="1090494" y="4721292"/>
              <a:chExt cx="7987802" cy="658329"/>
            </a:xfrm>
          </p:grpSpPr>
          <p:sp>
            <p:nvSpPr>
              <p:cNvPr id="8" name="Autre processus 7">
                <a:extLst>
                  <a:ext uri="{FF2B5EF4-FFF2-40B4-BE49-F238E27FC236}">
                    <a16:creationId xmlns:a16="http://schemas.microsoft.com/office/drawing/2014/main" id="{E79D2850-4F88-4BE9-BB1F-7010262A2509}"/>
                  </a:ext>
                </a:extLst>
              </p:cNvPr>
              <p:cNvSpPr/>
              <p:nvPr/>
            </p:nvSpPr>
            <p:spPr>
              <a:xfrm>
                <a:off x="1946988" y="4721292"/>
                <a:ext cx="7131308" cy="646331"/>
              </a:xfrm>
              <a:prstGeom prst="flowChartAlternateProcess">
                <a:avLst/>
              </a:prstGeom>
              <a:noFill/>
              <a:ln w="1905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GB" sz="1600" b="1">
                    <a:solidFill>
                      <a:schemeClr val="tx1"/>
                    </a:solidFill>
                  </a:rPr>
                  <a:t>Revoir </a:t>
                </a:r>
                <a:r>
                  <a:rPr lang="en-GB" sz="1600" b="1" err="1">
                    <a:solidFill>
                      <a:schemeClr val="tx1"/>
                    </a:solidFill>
                  </a:rPr>
                  <a:t>l’emplacement</a:t>
                </a:r>
                <a:r>
                  <a:rPr lang="en-GB" sz="1600" b="1">
                    <a:solidFill>
                      <a:schemeClr val="tx1"/>
                    </a:solidFill>
                  </a:rPr>
                  <a:t> des entrepôts</a:t>
                </a:r>
                <a:br>
                  <a:rPr lang="en-GB" sz="1600" b="1">
                    <a:solidFill>
                      <a:schemeClr val="tx1"/>
                    </a:solidFill>
                  </a:rPr>
                </a:br>
                <a:r>
                  <a:rPr lang="en-GB" sz="1400" i="1" err="1">
                    <a:solidFill>
                      <a:schemeClr val="tx1"/>
                    </a:solidFill>
                  </a:rPr>
                  <a:t>Nouvel</a:t>
                </a:r>
                <a:r>
                  <a:rPr lang="en-GB" sz="1400" i="1">
                    <a:solidFill>
                      <a:schemeClr val="tx1"/>
                    </a:solidFill>
                  </a:rPr>
                  <a:t> entrepôt, fermeture </a:t>
                </a:r>
                <a:r>
                  <a:rPr lang="en-GB" sz="1400" i="1" err="1">
                    <a:solidFill>
                      <a:schemeClr val="tx1"/>
                    </a:solidFill>
                  </a:rPr>
                  <a:t>d’entrepôt</a:t>
                </a:r>
                <a:endParaRPr lang="en-GB" sz="1400" i="1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</p:txBody>
          </p:sp>
          <p:grpSp>
            <p:nvGrpSpPr>
              <p:cNvPr id="14" name="Groupe 13">
                <a:extLst>
                  <a:ext uri="{FF2B5EF4-FFF2-40B4-BE49-F238E27FC236}">
                    <a16:creationId xmlns:a16="http://schemas.microsoft.com/office/drawing/2014/main" id="{BC2D9B3C-20D5-4B44-9645-D811BCA240F2}"/>
                  </a:ext>
                </a:extLst>
              </p:cNvPr>
              <p:cNvGrpSpPr/>
              <p:nvPr/>
            </p:nvGrpSpPr>
            <p:grpSpPr>
              <a:xfrm>
                <a:off x="1090494" y="4733289"/>
                <a:ext cx="648000" cy="646332"/>
                <a:chOff x="1090494" y="4404771"/>
                <a:chExt cx="648000" cy="646332"/>
              </a:xfrm>
            </p:grpSpPr>
            <p:sp>
              <p:nvSpPr>
                <p:cNvPr id="11" name="Ellipse 10">
                  <a:extLst>
                    <a:ext uri="{FF2B5EF4-FFF2-40B4-BE49-F238E27FC236}">
                      <a16:creationId xmlns:a16="http://schemas.microsoft.com/office/drawing/2014/main" id="{9393345E-854E-4006-8836-7A145DE5C0F4}"/>
                    </a:ext>
                  </a:extLst>
                </p:cNvPr>
                <p:cNvSpPr/>
                <p:nvPr/>
              </p:nvSpPr>
              <p:spPr>
                <a:xfrm>
                  <a:off x="1090494" y="4404771"/>
                  <a:ext cx="648000" cy="646332"/>
                </a:xfrm>
                <a:prstGeom prst="ellipse">
                  <a:avLst/>
                </a:prstGeom>
                <a:solidFill>
                  <a:schemeClr val="accent4">
                    <a:lumMod val="75000"/>
                  </a:schemeClr>
                </a:solidFill>
                <a:ln w="6350" cap="sq">
                  <a:solidFill>
                    <a:srgbClr val="FFFFFF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GB" sz="1600" err="1">
                    <a:solidFill>
                      <a:schemeClr val="accent4"/>
                    </a:solidFill>
                  </a:endParaRPr>
                </a:p>
              </p:txBody>
            </p:sp>
            <p:pic>
              <p:nvPicPr>
                <p:cNvPr id="31" name="Image 30">
                  <a:extLst>
                    <a:ext uri="{FF2B5EF4-FFF2-40B4-BE49-F238E27FC236}">
                      <a16:creationId xmlns:a16="http://schemas.microsoft.com/office/drawing/2014/main" id="{02109EF7-7510-7A44-9D16-49492CF90D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duotone>
                    <a:prstClr val="black"/>
                    <a:schemeClr val="accent1">
                      <a:lumMod val="90000"/>
                      <a:lumOff val="10000"/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1208009" y="4480401"/>
                  <a:ext cx="423155" cy="423155"/>
                </a:xfrm>
                <a:prstGeom prst="rect">
                  <a:avLst/>
                </a:prstGeom>
              </p:spPr>
            </p:pic>
          </p:grpSp>
        </p:grpSp>
        <p:sp>
          <p:nvSpPr>
            <p:cNvPr id="19" name="Autre processus 18">
              <a:extLst>
                <a:ext uri="{FF2B5EF4-FFF2-40B4-BE49-F238E27FC236}">
                  <a16:creationId xmlns:a16="http://schemas.microsoft.com/office/drawing/2014/main" id="{93DFF826-578E-440D-9975-90726945D0A8}"/>
                </a:ext>
              </a:extLst>
            </p:cNvPr>
            <p:cNvSpPr/>
            <p:nvPr/>
          </p:nvSpPr>
          <p:spPr>
            <a:xfrm>
              <a:off x="9158421" y="4405180"/>
              <a:ext cx="934418" cy="649673"/>
            </a:xfrm>
            <a:prstGeom prst="flowChartAlternateProcess">
              <a:avLst/>
            </a:prstGeom>
            <a:noFill/>
            <a:ln w="190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GB" sz="1600" b="1">
                  <a:solidFill>
                    <a:schemeClr val="tx1"/>
                  </a:solidFill>
                </a:rPr>
                <a:t>- 11%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01DBB71-F357-4AB1-A26A-A94E5C2305FA}"/>
              </a:ext>
            </a:extLst>
          </p:cNvPr>
          <p:cNvGrpSpPr/>
          <p:nvPr/>
        </p:nvGrpSpPr>
        <p:grpSpPr>
          <a:xfrm>
            <a:off x="554736" y="5464075"/>
            <a:ext cx="9537954" cy="646893"/>
            <a:chOff x="554736" y="5464075"/>
            <a:chExt cx="9537954" cy="646893"/>
          </a:xfrm>
        </p:grpSpPr>
        <p:sp>
          <p:nvSpPr>
            <p:cNvPr id="16" name="Autre processus 15">
              <a:extLst>
                <a:ext uri="{FF2B5EF4-FFF2-40B4-BE49-F238E27FC236}">
                  <a16:creationId xmlns:a16="http://schemas.microsoft.com/office/drawing/2014/main" id="{E44641B7-0C06-440F-83F3-02D612F3FE20}"/>
                </a:ext>
              </a:extLst>
            </p:cNvPr>
            <p:cNvSpPr/>
            <p:nvPr/>
          </p:nvSpPr>
          <p:spPr>
            <a:xfrm>
              <a:off x="554736" y="5464354"/>
              <a:ext cx="471631" cy="646334"/>
            </a:xfrm>
            <a:prstGeom prst="flowChartAlternateProcess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GB" sz="2000" b="1">
                  <a:solidFill>
                    <a:schemeClr val="bg1"/>
                  </a:solidFill>
                </a:rPr>
                <a:t>3</a:t>
              </a:r>
            </a:p>
          </p:txBody>
        </p:sp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778EFD96-E78D-F34F-8825-E0BC98673950}"/>
                </a:ext>
              </a:extLst>
            </p:cNvPr>
            <p:cNvGrpSpPr/>
            <p:nvPr/>
          </p:nvGrpSpPr>
          <p:grpSpPr>
            <a:xfrm>
              <a:off x="1090493" y="5464355"/>
              <a:ext cx="7987803" cy="646332"/>
              <a:chOff x="1090493" y="5446171"/>
              <a:chExt cx="7987803" cy="646332"/>
            </a:xfrm>
          </p:grpSpPr>
          <p:sp>
            <p:nvSpPr>
              <p:cNvPr id="13" name="Autre processus 12">
                <a:extLst>
                  <a:ext uri="{FF2B5EF4-FFF2-40B4-BE49-F238E27FC236}">
                    <a16:creationId xmlns:a16="http://schemas.microsoft.com/office/drawing/2014/main" id="{2A9AFCA4-14A8-4EA1-BDC0-E78DDADF2445}"/>
                  </a:ext>
                </a:extLst>
              </p:cNvPr>
              <p:cNvSpPr/>
              <p:nvPr/>
            </p:nvSpPr>
            <p:spPr>
              <a:xfrm>
                <a:off x="1946988" y="5446171"/>
                <a:ext cx="7131308" cy="646331"/>
              </a:xfrm>
              <a:prstGeom prst="flowChartAlternateProcess">
                <a:avLst/>
              </a:prstGeom>
              <a:noFill/>
              <a:ln w="1905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GB" sz="1600" b="1" err="1">
                    <a:solidFill>
                      <a:schemeClr val="tx1"/>
                    </a:solidFill>
                  </a:rPr>
                  <a:t>Remplacer</a:t>
                </a:r>
                <a:r>
                  <a:rPr lang="en-GB" sz="1600" b="1">
                    <a:solidFill>
                      <a:schemeClr val="tx1"/>
                    </a:solidFill>
                  </a:rPr>
                  <a:t> la </a:t>
                </a:r>
                <a:r>
                  <a:rPr lang="en-GB" sz="1600" b="1" err="1">
                    <a:solidFill>
                      <a:schemeClr val="tx1"/>
                    </a:solidFill>
                  </a:rPr>
                  <a:t>flotte</a:t>
                </a:r>
                <a:r>
                  <a:rPr lang="en-GB" sz="1600" b="1">
                    <a:solidFill>
                      <a:schemeClr val="tx1"/>
                    </a:solidFill>
                  </a:rPr>
                  <a:t>  </a:t>
                </a:r>
                <a:br>
                  <a:rPr lang="en-GB" sz="1400" i="1">
                    <a:solidFill>
                      <a:schemeClr val="tx1"/>
                    </a:solidFill>
                  </a:rPr>
                </a:br>
                <a:r>
                  <a:rPr lang="en-GB" sz="1400" i="1" err="1">
                    <a:solidFill>
                      <a:schemeClr val="tx1"/>
                    </a:solidFill>
                  </a:rPr>
                  <a:t>Renouvellement</a:t>
                </a:r>
                <a:r>
                  <a:rPr lang="en-GB" sz="1400" i="1">
                    <a:solidFill>
                      <a:schemeClr val="tx1"/>
                    </a:solidFill>
                  </a:rPr>
                  <a:t> </a:t>
                </a:r>
                <a:r>
                  <a:rPr lang="en-GB" sz="1400" i="1" err="1">
                    <a:solidFill>
                      <a:schemeClr val="tx1"/>
                    </a:solidFill>
                  </a:rPr>
                  <a:t>progressif</a:t>
                </a:r>
                <a:r>
                  <a:rPr lang="en-GB" sz="1400" i="1">
                    <a:solidFill>
                      <a:schemeClr val="tx1"/>
                    </a:solidFill>
                  </a:rPr>
                  <a:t> de la </a:t>
                </a:r>
                <a:r>
                  <a:rPr lang="en-GB" sz="1400" i="1" err="1">
                    <a:solidFill>
                      <a:schemeClr val="tx1"/>
                    </a:solidFill>
                  </a:rPr>
                  <a:t>flotte</a:t>
                </a:r>
                <a:r>
                  <a:rPr lang="en-GB" sz="1400" i="1">
                    <a:solidFill>
                      <a:schemeClr val="tx1"/>
                    </a:solidFill>
                  </a:rPr>
                  <a:t> par des camions </a:t>
                </a:r>
                <a:r>
                  <a:rPr lang="en-GB" sz="1400" i="1" err="1">
                    <a:solidFill>
                      <a:schemeClr val="tx1"/>
                    </a:solidFill>
                  </a:rPr>
                  <a:t>électriques</a:t>
                </a:r>
                <a:br>
                  <a:rPr lang="en-GB" sz="1600" b="1">
                    <a:solidFill>
                      <a:schemeClr val="tx1"/>
                    </a:solidFill>
                  </a:rPr>
                </a:br>
                <a:endParaRPr lang="en-GB" sz="1400" i="1">
                  <a:solidFill>
                    <a:schemeClr val="tx1"/>
                  </a:solidFill>
                  <a:cs typeface="Arial"/>
                </a:endParaRPr>
              </a:p>
            </p:txBody>
          </p:sp>
          <p:grpSp>
            <p:nvGrpSpPr>
              <p:cNvPr id="3" name="Groupe 2">
                <a:extLst>
                  <a:ext uri="{FF2B5EF4-FFF2-40B4-BE49-F238E27FC236}">
                    <a16:creationId xmlns:a16="http://schemas.microsoft.com/office/drawing/2014/main" id="{4C734102-9B02-1045-BAA8-2369378CD76C}"/>
                  </a:ext>
                </a:extLst>
              </p:cNvPr>
              <p:cNvGrpSpPr/>
              <p:nvPr/>
            </p:nvGrpSpPr>
            <p:grpSpPr>
              <a:xfrm>
                <a:off x="1090493" y="5446171"/>
                <a:ext cx="641639" cy="646332"/>
                <a:chOff x="1090493" y="5446171"/>
                <a:chExt cx="641639" cy="646332"/>
              </a:xfrm>
            </p:grpSpPr>
            <p:sp>
              <p:nvSpPr>
                <p:cNvPr id="12" name="Ellipse 11">
                  <a:extLst>
                    <a:ext uri="{FF2B5EF4-FFF2-40B4-BE49-F238E27FC236}">
                      <a16:creationId xmlns:a16="http://schemas.microsoft.com/office/drawing/2014/main" id="{DB2C254D-3C54-4176-92FA-78FDD6A354D2}"/>
                    </a:ext>
                  </a:extLst>
                </p:cNvPr>
                <p:cNvSpPr/>
                <p:nvPr/>
              </p:nvSpPr>
              <p:spPr>
                <a:xfrm>
                  <a:off x="1090493" y="5446171"/>
                  <a:ext cx="641639" cy="646332"/>
                </a:xfrm>
                <a:prstGeom prst="ellipse">
                  <a:avLst/>
                </a:prstGeom>
                <a:solidFill>
                  <a:schemeClr val="accent4">
                    <a:lumMod val="75000"/>
                  </a:schemeClr>
                </a:solidFill>
                <a:ln w="6350" cap="sq">
                  <a:solidFill>
                    <a:srgbClr val="FFFFFF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GB" sz="1600" err="1">
                    <a:solidFill>
                      <a:schemeClr val="accent4"/>
                    </a:solidFill>
                  </a:endParaRPr>
                </a:p>
              </p:txBody>
            </p:sp>
            <p:pic>
              <p:nvPicPr>
                <p:cNvPr id="33" name="Image 32">
                  <a:extLst>
                    <a:ext uri="{FF2B5EF4-FFF2-40B4-BE49-F238E27FC236}">
                      <a16:creationId xmlns:a16="http://schemas.microsoft.com/office/drawing/2014/main" id="{6613D0F9-0CE6-974A-A1DE-BBBF7B1F19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duotone>
                    <a:prstClr val="black"/>
                    <a:schemeClr val="accent1">
                      <a:lumMod val="90000"/>
                      <a:lumOff val="10000"/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1212531" y="5565982"/>
                  <a:ext cx="398461" cy="398461"/>
                </a:xfrm>
                <a:prstGeom prst="rect">
                  <a:avLst/>
                </a:prstGeom>
              </p:spPr>
            </p:pic>
          </p:grpSp>
        </p:grpSp>
        <p:sp>
          <p:nvSpPr>
            <p:cNvPr id="20" name="Autre processus 19">
              <a:extLst>
                <a:ext uri="{FF2B5EF4-FFF2-40B4-BE49-F238E27FC236}">
                  <a16:creationId xmlns:a16="http://schemas.microsoft.com/office/drawing/2014/main" id="{B390FEAE-E736-4DF8-969A-B974F876899F}"/>
                </a:ext>
              </a:extLst>
            </p:cNvPr>
            <p:cNvSpPr/>
            <p:nvPr/>
          </p:nvSpPr>
          <p:spPr>
            <a:xfrm>
              <a:off x="9159625" y="5464075"/>
              <a:ext cx="933065" cy="646893"/>
            </a:xfrm>
            <a:prstGeom prst="flowChartAlternateProcess">
              <a:avLst/>
            </a:prstGeom>
            <a:noFill/>
            <a:ln w="190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GB" sz="1600" b="1">
                  <a:solidFill>
                    <a:schemeClr val="tx1"/>
                  </a:solidFill>
                </a:rPr>
                <a:t>-30%</a:t>
              </a:r>
              <a:endParaRPr lang="en-GB" sz="1200">
                <a:solidFill>
                  <a:schemeClr val="tx1"/>
                </a:solidFill>
                <a:cs typeface="Arial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CEF33C1-11CB-43B4-8AB4-D77BDE71EDE1}"/>
              </a:ext>
            </a:extLst>
          </p:cNvPr>
          <p:cNvGrpSpPr/>
          <p:nvPr/>
        </p:nvGrpSpPr>
        <p:grpSpPr>
          <a:xfrm>
            <a:off x="562813" y="3295699"/>
            <a:ext cx="9530026" cy="658220"/>
            <a:chOff x="562813" y="3295699"/>
            <a:chExt cx="9530026" cy="658220"/>
          </a:xfrm>
        </p:grpSpPr>
        <p:sp>
          <p:nvSpPr>
            <p:cNvPr id="15" name="Autre processus 14">
              <a:extLst>
                <a:ext uri="{FF2B5EF4-FFF2-40B4-BE49-F238E27FC236}">
                  <a16:creationId xmlns:a16="http://schemas.microsoft.com/office/drawing/2014/main" id="{7A3F7BE1-53B0-4219-B401-DB7605D95B0F}"/>
                </a:ext>
              </a:extLst>
            </p:cNvPr>
            <p:cNvSpPr/>
            <p:nvPr/>
          </p:nvSpPr>
          <p:spPr>
            <a:xfrm>
              <a:off x="562813" y="3301642"/>
              <a:ext cx="471631" cy="646334"/>
            </a:xfrm>
            <a:prstGeom prst="flowChartAlternateProcess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GB" sz="2000" b="1">
                  <a:solidFill>
                    <a:schemeClr val="bg1"/>
                  </a:solidFill>
                </a:rPr>
                <a:t>1</a:t>
              </a:r>
            </a:p>
          </p:txBody>
        </p:sp>
        <p:grpSp>
          <p:nvGrpSpPr>
            <p:cNvPr id="27" name="Groupe 26">
              <a:extLst>
                <a:ext uri="{FF2B5EF4-FFF2-40B4-BE49-F238E27FC236}">
                  <a16:creationId xmlns:a16="http://schemas.microsoft.com/office/drawing/2014/main" id="{FB94FC63-F81D-9941-89AE-2C0296C85E50}"/>
                </a:ext>
              </a:extLst>
            </p:cNvPr>
            <p:cNvGrpSpPr/>
            <p:nvPr/>
          </p:nvGrpSpPr>
          <p:grpSpPr>
            <a:xfrm>
              <a:off x="1095586" y="3295699"/>
              <a:ext cx="7982710" cy="658220"/>
              <a:chOff x="1095586" y="3984690"/>
              <a:chExt cx="7982710" cy="658220"/>
            </a:xfrm>
          </p:grpSpPr>
          <p:sp>
            <p:nvSpPr>
              <p:cNvPr id="7" name="Autre processus 6">
                <a:extLst>
                  <a:ext uri="{FF2B5EF4-FFF2-40B4-BE49-F238E27FC236}">
                    <a16:creationId xmlns:a16="http://schemas.microsoft.com/office/drawing/2014/main" id="{5BF61B0C-AE09-45A3-A5CA-3BF2AED371CA}"/>
                  </a:ext>
                </a:extLst>
              </p:cNvPr>
              <p:cNvSpPr/>
              <p:nvPr/>
            </p:nvSpPr>
            <p:spPr>
              <a:xfrm>
                <a:off x="1946988" y="3984690"/>
                <a:ext cx="7131308" cy="646331"/>
              </a:xfrm>
              <a:prstGeom prst="flowChartAlternateProcess">
                <a:avLst/>
              </a:prstGeom>
              <a:noFill/>
              <a:ln w="1905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GB" sz="1600" b="1">
                    <a:solidFill>
                      <a:schemeClr val="tx1"/>
                    </a:solidFill>
                  </a:rPr>
                  <a:t>Optimiser les </a:t>
                </a:r>
                <a:r>
                  <a:rPr lang="en-GB" sz="1600" b="1" err="1">
                    <a:solidFill>
                      <a:schemeClr val="tx1"/>
                    </a:solidFill>
                  </a:rPr>
                  <a:t>trajets</a:t>
                </a:r>
                <a:br>
                  <a:rPr lang="en-GB" sz="1600" b="1">
                    <a:solidFill>
                      <a:schemeClr val="tx1"/>
                    </a:solidFill>
                  </a:rPr>
                </a:br>
                <a:r>
                  <a:rPr lang="en-GB" sz="1400" i="1">
                    <a:solidFill>
                      <a:schemeClr val="tx1"/>
                    </a:solidFill>
                  </a:rPr>
                  <a:t>Meilleur </a:t>
                </a:r>
                <a:r>
                  <a:rPr lang="en-GB" sz="1400" i="1" err="1">
                    <a:solidFill>
                      <a:schemeClr val="tx1"/>
                    </a:solidFill>
                  </a:rPr>
                  <a:t>taux</a:t>
                </a:r>
                <a:r>
                  <a:rPr lang="en-GB" sz="1400" i="1">
                    <a:solidFill>
                      <a:schemeClr val="tx1"/>
                    </a:solidFill>
                  </a:rPr>
                  <a:t> de </a:t>
                </a:r>
                <a:r>
                  <a:rPr lang="en-GB" sz="1400" i="1" err="1">
                    <a:solidFill>
                      <a:schemeClr val="tx1"/>
                    </a:solidFill>
                  </a:rPr>
                  <a:t>remplissage</a:t>
                </a:r>
                <a:r>
                  <a:rPr lang="en-GB" sz="1400" i="1">
                    <a:solidFill>
                      <a:schemeClr val="tx1"/>
                    </a:solidFill>
                  </a:rPr>
                  <a:t>, </a:t>
                </a:r>
                <a:r>
                  <a:rPr lang="en-GB" sz="1400" i="1" err="1">
                    <a:solidFill>
                      <a:schemeClr val="tx1"/>
                    </a:solidFill>
                  </a:rPr>
                  <a:t>meilleur</a:t>
                </a:r>
                <a:r>
                  <a:rPr lang="en-GB" sz="1400" i="1">
                    <a:solidFill>
                      <a:schemeClr val="tx1"/>
                    </a:solidFill>
                  </a:rPr>
                  <a:t> </a:t>
                </a:r>
                <a:r>
                  <a:rPr lang="en-GB" sz="1400" i="1" err="1">
                    <a:solidFill>
                      <a:schemeClr val="tx1"/>
                    </a:solidFill>
                  </a:rPr>
                  <a:t>choix</a:t>
                </a:r>
                <a:r>
                  <a:rPr lang="en-GB" sz="1400" i="1">
                    <a:solidFill>
                      <a:schemeClr val="tx1"/>
                    </a:solidFill>
                  </a:rPr>
                  <a:t> des destinations, </a:t>
                </a:r>
                <a:r>
                  <a:rPr lang="en-GB" sz="1400" i="1" err="1">
                    <a:solidFill>
                      <a:schemeClr val="tx1"/>
                    </a:solidFill>
                  </a:rPr>
                  <a:t>meilleur</a:t>
                </a:r>
                <a:r>
                  <a:rPr lang="en-GB" sz="1400" i="1">
                    <a:solidFill>
                      <a:schemeClr val="tx1"/>
                    </a:solidFill>
                  </a:rPr>
                  <a:t> </a:t>
                </a:r>
                <a:r>
                  <a:rPr lang="en-GB" sz="1400" i="1" err="1">
                    <a:solidFill>
                      <a:schemeClr val="tx1"/>
                    </a:solidFill>
                  </a:rPr>
                  <a:t>itinéraire</a:t>
                </a:r>
                <a:br>
                  <a:rPr lang="en-GB" sz="1600" b="1">
                    <a:solidFill>
                      <a:schemeClr val="tx1"/>
                    </a:solidFill>
                  </a:rPr>
                </a:br>
                <a:endParaRPr lang="en-GB" sz="1400" i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" name="Groupe 20">
                <a:extLst>
                  <a:ext uri="{FF2B5EF4-FFF2-40B4-BE49-F238E27FC236}">
                    <a16:creationId xmlns:a16="http://schemas.microsoft.com/office/drawing/2014/main" id="{C7C5F497-99FE-434A-BC32-D3F18FD73484}"/>
                  </a:ext>
                </a:extLst>
              </p:cNvPr>
              <p:cNvGrpSpPr/>
              <p:nvPr/>
            </p:nvGrpSpPr>
            <p:grpSpPr>
              <a:xfrm>
                <a:off x="1095586" y="3996578"/>
                <a:ext cx="648000" cy="646332"/>
                <a:chOff x="1090494" y="3363371"/>
                <a:chExt cx="648000" cy="646332"/>
              </a:xfrm>
            </p:grpSpPr>
            <p:sp>
              <p:nvSpPr>
                <p:cNvPr id="10" name="Ellipse 9">
                  <a:extLst>
                    <a:ext uri="{FF2B5EF4-FFF2-40B4-BE49-F238E27FC236}">
                      <a16:creationId xmlns:a16="http://schemas.microsoft.com/office/drawing/2014/main" id="{39AE4261-0989-4764-9EE5-0995E5AD6FCB}"/>
                    </a:ext>
                  </a:extLst>
                </p:cNvPr>
                <p:cNvSpPr/>
                <p:nvPr/>
              </p:nvSpPr>
              <p:spPr>
                <a:xfrm>
                  <a:off x="1090494" y="3363371"/>
                  <a:ext cx="648000" cy="646332"/>
                </a:xfrm>
                <a:prstGeom prst="ellipse">
                  <a:avLst/>
                </a:prstGeom>
                <a:solidFill>
                  <a:schemeClr val="accent4">
                    <a:lumMod val="75000"/>
                  </a:schemeClr>
                </a:solidFill>
                <a:ln w="6350" cap="sq">
                  <a:solidFill>
                    <a:srgbClr val="FFFFFF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GB" sz="1600" err="1">
                    <a:solidFill>
                      <a:schemeClr val="accent4"/>
                    </a:solidFill>
                  </a:endParaRPr>
                </a:p>
              </p:txBody>
            </p:sp>
            <p:pic>
              <p:nvPicPr>
                <p:cNvPr id="29" name="Image 28">
                  <a:extLst>
                    <a:ext uri="{FF2B5EF4-FFF2-40B4-BE49-F238E27FC236}">
                      <a16:creationId xmlns:a16="http://schemas.microsoft.com/office/drawing/2014/main" id="{DFD6F932-4C4B-E742-831A-4C8F5F0368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duotone>
                    <a:prstClr val="black"/>
                    <a:schemeClr val="accent1">
                      <a:lumMod val="90000"/>
                      <a:lumOff val="10000"/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1202591" y="3448676"/>
                  <a:ext cx="432063" cy="432063"/>
                </a:xfrm>
                <a:prstGeom prst="rect">
                  <a:avLst/>
                </a:prstGeom>
              </p:spPr>
            </p:pic>
          </p:grpSp>
        </p:grpSp>
        <p:sp>
          <p:nvSpPr>
            <p:cNvPr id="30" name="Autre processus 29">
              <a:extLst>
                <a:ext uri="{FF2B5EF4-FFF2-40B4-BE49-F238E27FC236}">
                  <a16:creationId xmlns:a16="http://schemas.microsoft.com/office/drawing/2014/main" id="{3692A8D7-4D9F-DA45-AA84-6B2DBA91BFC3}"/>
                </a:ext>
              </a:extLst>
            </p:cNvPr>
            <p:cNvSpPr/>
            <p:nvPr/>
          </p:nvSpPr>
          <p:spPr>
            <a:xfrm>
              <a:off x="9158420" y="3295699"/>
              <a:ext cx="934419" cy="658220"/>
            </a:xfrm>
            <a:prstGeom prst="flowChartAlternateProcess">
              <a:avLst/>
            </a:prstGeom>
            <a:noFill/>
            <a:ln w="190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GB" sz="1600" b="1">
                  <a:solidFill>
                    <a:schemeClr val="tx1"/>
                  </a:solidFill>
                </a:rPr>
                <a:t>- 40%</a:t>
              </a:r>
            </a:p>
          </p:txBody>
        </p:sp>
      </p:grpSp>
      <p:sp>
        <p:nvSpPr>
          <p:cNvPr id="36" name="Ellipse 35">
            <a:extLst>
              <a:ext uri="{FF2B5EF4-FFF2-40B4-BE49-F238E27FC236}">
                <a16:creationId xmlns:a16="http://schemas.microsoft.com/office/drawing/2014/main" id="{2C4DD89A-0F49-884F-AD7F-64ABED92390A}"/>
              </a:ext>
            </a:extLst>
          </p:cNvPr>
          <p:cNvSpPr/>
          <p:nvPr/>
        </p:nvSpPr>
        <p:spPr>
          <a:xfrm>
            <a:off x="10570055" y="4113345"/>
            <a:ext cx="1116000" cy="11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600" b="1">
                <a:solidFill>
                  <a:schemeClr val="tx1"/>
                </a:solidFill>
              </a:rPr>
              <a:t>-63%</a:t>
            </a:r>
          </a:p>
        </p:txBody>
      </p:sp>
      <p:sp>
        <p:nvSpPr>
          <p:cNvPr id="37" name="Autre processus 36">
            <a:extLst>
              <a:ext uri="{FF2B5EF4-FFF2-40B4-BE49-F238E27FC236}">
                <a16:creationId xmlns:a16="http://schemas.microsoft.com/office/drawing/2014/main" id="{7AF63895-B675-7241-8E29-E3CC2FC9897A}"/>
              </a:ext>
            </a:extLst>
          </p:cNvPr>
          <p:cNvSpPr/>
          <p:nvPr/>
        </p:nvSpPr>
        <p:spPr>
          <a:xfrm>
            <a:off x="2539404" y="1924502"/>
            <a:ext cx="7084098" cy="646331"/>
          </a:xfrm>
          <a:prstGeom prst="flowChartAlternateProcess">
            <a:avLst/>
          </a:prstGeom>
          <a:noFill/>
          <a:ln w="19050" cap="sq">
            <a:solidFill>
              <a:schemeClr val="accent1">
                <a:lumMod val="90000"/>
                <a:lumOff val="1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600" b="1">
                <a:solidFill>
                  <a:schemeClr val="tx1"/>
                </a:solidFill>
              </a:rPr>
              <a:t>L’organisation actuelle de LPD laisse la place à des opportunités de réduction d’émissions de CO2</a:t>
            </a:r>
            <a:endParaRPr lang="en-GB" sz="1600" b="1">
              <a:solidFill>
                <a:schemeClr val="tx1"/>
              </a:solidFill>
            </a:endParaRPr>
          </a:p>
        </p:txBody>
      </p:sp>
      <p:sp>
        <p:nvSpPr>
          <p:cNvPr id="38" name="Autre processus 37">
            <a:extLst>
              <a:ext uri="{FF2B5EF4-FFF2-40B4-BE49-F238E27FC236}">
                <a16:creationId xmlns:a16="http://schemas.microsoft.com/office/drawing/2014/main" id="{089D128B-BE2B-2049-BD16-9E4709C85024}"/>
              </a:ext>
            </a:extLst>
          </p:cNvPr>
          <p:cNvSpPr/>
          <p:nvPr/>
        </p:nvSpPr>
        <p:spPr>
          <a:xfrm>
            <a:off x="1946988" y="2846892"/>
            <a:ext cx="1184832" cy="376999"/>
          </a:xfrm>
          <a:prstGeom prst="flowChartAlternateProcess">
            <a:avLst/>
          </a:prstGeom>
          <a:solidFill>
            <a:srgbClr val="051C2C"/>
          </a:solidFill>
          <a:ln w="19050" cap="sq">
            <a:solidFill>
              <a:schemeClr val="accent1">
                <a:lumMod val="90000"/>
                <a:lumOff val="1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600" b="1">
                <a:solidFill>
                  <a:schemeClr val="bg1"/>
                </a:solidFill>
              </a:rPr>
              <a:t>Initiatives</a:t>
            </a:r>
            <a:endParaRPr lang="en-GB" sz="1400" i="1">
              <a:solidFill>
                <a:schemeClr val="bg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9" name="Autre processus 38">
                <a:extLst>
                  <a:ext uri="{FF2B5EF4-FFF2-40B4-BE49-F238E27FC236}">
                    <a16:creationId xmlns:a16="http://schemas.microsoft.com/office/drawing/2014/main" id="{0ECB340B-5B77-274D-8745-024E4202114C}"/>
                  </a:ext>
                </a:extLst>
              </p:cNvPr>
              <p:cNvSpPr/>
              <p:nvPr/>
            </p:nvSpPr>
            <p:spPr>
              <a:xfrm>
                <a:off x="9158418" y="2846892"/>
                <a:ext cx="934272" cy="376999"/>
              </a:xfrm>
              <a:prstGeom prst="flowChartAlternateProcess">
                <a:avLst/>
              </a:prstGeom>
              <a:solidFill>
                <a:srgbClr val="051C2C">
                  <a:alpha val="26000"/>
                </a:srgbClr>
              </a:solidFill>
              <a:ln w="19050" cap="sq">
                <a:solidFill>
                  <a:schemeClr val="accent1">
                    <a:lumMod val="90000"/>
                    <a:lumOff val="1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GB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sz="16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𝐈𝐦𝐩𝐚𝐜𝐭</m:t>
                          </m:r>
                        </m:e>
                        <m:sup>
                          <m:r>
                            <a:rPr lang="fr-FR" sz="16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</m:oMath>
                  </m:oMathPara>
                </a14:m>
                <a:endParaRPr lang="en-GB" sz="1400" b="1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39" name="Autre processus 38">
                <a:extLst>
                  <a:ext uri="{FF2B5EF4-FFF2-40B4-BE49-F238E27FC236}">
                    <a16:creationId xmlns:a16="http://schemas.microsoft.com/office/drawing/2014/main" id="{0ECB340B-5B77-274D-8745-024E4202114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58418" y="2846892"/>
                <a:ext cx="934272" cy="376999"/>
              </a:xfrm>
              <a:prstGeom prst="flowChartAlternateProcess">
                <a:avLst/>
              </a:prstGeom>
              <a:blipFill>
                <a:blip r:embed="rId6"/>
                <a:stretch>
                  <a:fillRect b="-1538"/>
                </a:stretch>
              </a:blipFill>
              <a:ln w="19050" cap="sq">
                <a:solidFill>
                  <a:schemeClr val="accent1">
                    <a:lumMod val="90000"/>
                    <a:lumOff val="10000"/>
                  </a:schemeClr>
                </a:solidFill>
                <a:miter lim="800000"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7" name="Image 17">
            <a:extLst>
              <a:ext uri="{FF2B5EF4-FFF2-40B4-BE49-F238E27FC236}">
                <a16:creationId xmlns:a16="http://schemas.microsoft.com/office/drawing/2014/main" id="{71D2D114-43E2-4A95-99E3-F3D27B533C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55643" y="3295699"/>
            <a:ext cx="377000" cy="2814987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ZoneTexte 5">
                <a:extLst>
                  <a:ext uri="{FF2B5EF4-FFF2-40B4-BE49-F238E27FC236}">
                    <a16:creationId xmlns:a16="http://schemas.microsoft.com/office/drawing/2014/main" id="{FBB1F34B-79D8-F24D-A141-A2DF854EB70A}"/>
                  </a:ext>
                </a:extLst>
              </p:cNvPr>
              <p:cNvSpPr txBox="1"/>
              <p:nvPr/>
            </p:nvSpPr>
            <p:spPr>
              <a:xfrm>
                <a:off x="6196584" y="6217408"/>
                <a:ext cx="3678936" cy="217681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fr-FR" sz="900"/>
                  <a:t>* Réduction en % de l’émission d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9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fr-FR" sz="900" b="0" i="0">
                            <a:latin typeface="Cambria Math" panose="02040503050406030204" pitchFamily="18" charset="0"/>
                          </a:rPr>
                          <m:t>CO</m:t>
                        </m:r>
                      </m:e>
                      <m:sub>
                        <m:r>
                          <a:rPr lang="fr-FR" sz="900" b="0" i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fr-FR" sz="900"/>
                  <a:t> pa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fr-FR" sz="9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fr-FR" sz="900" i="0"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p>
                        <m:r>
                          <a:rPr lang="fr-FR" sz="900" i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fr-FR" sz="900"/>
                  <a:t> de colis livré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9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fr-FR" sz="900" b="0" i="0" smtClean="0"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m:rPr>
                            <m:sty m:val="p"/>
                          </m:rPr>
                          <a:rPr lang="fr-FR" sz="900">
                            <a:latin typeface="Cambria Math" panose="02040503050406030204" pitchFamily="18" charset="0"/>
                          </a:rPr>
                          <m:t>CO</m:t>
                        </m:r>
                      </m:e>
                      <m:sub>
                        <m:r>
                          <a:rPr lang="fr-FR" sz="9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fr-FR" sz="900" b="0" i="1" smtClean="0">
                        <a:latin typeface="Cambria Math" panose="02040503050406030204" pitchFamily="18" charset="0"/>
                      </a:rPr>
                      <m:t>/</m:t>
                    </m:r>
                    <m:sSup>
                      <m:sSupPr>
                        <m:ctrlPr>
                          <a:rPr lang="fr-FR" sz="9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fr-FR" sz="900"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p>
                        <m:r>
                          <a:rPr lang="fr-FR" sz="90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fr-FR" sz="900"/>
                  <a:t>) sur 6 mois</a:t>
                </a:r>
              </a:p>
            </p:txBody>
          </p:sp>
        </mc:Choice>
        <mc:Fallback>
          <p:sp>
            <p:nvSpPr>
              <p:cNvPr id="6" name="ZoneTexte 5">
                <a:extLst>
                  <a:ext uri="{FF2B5EF4-FFF2-40B4-BE49-F238E27FC236}">
                    <a16:creationId xmlns:a16="http://schemas.microsoft.com/office/drawing/2014/main" id="{FBB1F34B-79D8-F24D-A141-A2DF854EB7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6584" y="6217408"/>
                <a:ext cx="3678936" cy="217681"/>
              </a:xfrm>
              <a:prstGeom prst="rect">
                <a:avLst/>
              </a:prstGeom>
              <a:blipFill>
                <a:blip r:embed="rId8"/>
                <a:stretch>
                  <a:fillRect l="-1990" t="-19444" r="-14262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5" name="Graphic 44" descr="Close with solid fill">
            <a:extLst>
              <a:ext uri="{FF2B5EF4-FFF2-40B4-BE49-F238E27FC236}">
                <a16:creationId xmlns:a16="http://schemas.microsoft.com/office/drawing/2014/main" id="{BC53FABC-C51C-4F7B-8858-B9CBBAA6DB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51528" y="3978376"/>
            <a:ext cx="377000" cy="377000"/>
          </a:xfrm>
          <a:prstGeom prst="rect">
            <a:avLst/>
          </a:prstGeom>
        </p:spPr>
      </p:pic>
      <p:pic>
        <p:nvPicPr>
          <p:cNvPr id="46" name="Graphic 45" descr="Close with solid fill">
            <a:extLst>
              <a:ext uri="{FF2B5EF4-FFF2-40B4-BE49-F238E27FC236}">
                <a16:creationId xmlns:a16="http://schemas.microsoft.com/office/drawing/2014/main" id="{3041E4CE-F0C2-455A-B1F5-B6C46E875C4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51512" y="5062619"/>
            <a:ext cx="377000" cy="37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991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6BE81D-E633-0542-B9CD-B23FCB18D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200">
                <a:latin typeface="Segoe UI Emoji" panose="020B0502040204020203" pitchFamily="34" charset="0"/>
                <a:ea typeface="Segoe UI Emoji" panose="020B0502040204020203" pitchFamily="34" charset="0"/>
              </a:rPr>
              <a:t>Diagnostic | Des améliorations sont possibles du point de vue des trajets et des entrepôts 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33ECE94-7D97-4447-9283-9E989B7463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B65788C-C40D-B646-A136-A63A70766DE3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>
                <a:latin typeface="Segoe UI Emoji" panose="020B0502040204020203" pitchFamily="34" charset="0"/>
                <a:ea typeface="Segoe UI Emoji" panose="020B0502040204020203" pitchFamily="34" charset="0"/>
              </a:rPr>
              <a:t>Source : Donnée client, Analyse </a:t>
            </a:r>
            <a:r>
              <a:rPr lang="fr-FR" sz="900" err="1">
                <a:latin typeface="Segoe UI Emoji" panose="020B0502040204020203" pitchFamily="34" charset="0"/>
                <a:ea typeface="Segoe UI Emoji" panose="020B0502040204020203" pitchFamily="34" charset="0"/>
              </a:rPr>
              <a:t>CentraleSupélec</a:t>
            </a:r>
            <a:endParaRPr lang="fr-FR" sz="9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740A67B1-2593-A142-96C4-859444B5BC05}"/>
              </a:ext>
            </a:extLst>
          </p:cNvPr>
          <p:cNvSpPr txBox="1"/>
          <p:nvPr/>
        </p:nvSpPr>
        <p:spPr>
          <a:xfrm>
            <a:off x="7864292" y="1434200"/>
            <a:ext cx="3227342" cy="2729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b="1" dirty="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Des entrepôts mal </a:t>
            </a:r>
            <a:r>
              <a:rPr lang="en-US" sz="1600" b="1" dirty="0" err="1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positionnés</a:t>
            </a:r>
            <a:endParaRPr lang="en-US" sz="1600" b="1" dirty="0">
              <a:latin typeface="Segoe UI Emoji" panose="020B0502040204020203" pitchFamily="34" charset="0"/>
              <a:ea typeface="Segoe UI Emoji" panose="020B0502040204020203" pitchFamily="34" charset="0"/>
              <a:cs typeface="Arial"/>
            </a:endParaRP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685A4BFB-5E4B-4A86-B2C0-0CD86F325B52}"/>
              </a:ext>
            </a:extLst>
          </p:cNvPr>
          <p:cNvSpPr txBox="1"/>
          <p:nvPr/>
        </p:nvSpPr>
        <p:spPr>
          <a:xfrm>
            <a:off x="1777700" y="1424792"/>
            <a:ext cx="2813417" cy="2729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b="1" dirty="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Des </a:t>
            </a:r>
            <a:r>
              <a:rPr lang="en-US" sz="1600" b="1" dirty="0" err="1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trajets</a:t>
            </a:r>
            <a:r>
              <a:rPr lang="en-US" sz="1600" b="1" dirty="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 </a:t>
            </a:r>
            <a:r>
              <a:rPr lang="en-US" sz="1600" b="1" dirty="0" err="1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optimisables</a:t>
            </a:r>
            <a:r>
              <a:rPr lang="en-US" sz="1600" b="1" dirty="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 </a:t>
            </a: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B8314A94-9E0C-4DB2-ABA0-E96882C9298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160919" y="1257771"/>
            <a:ext cx="485423" cy="476017"/>
          </a:xfrm>
          <a:prstGeom prst="rect">
            <a:avLst/>
          </a:prstGeom>
        </p:spPr>
      </p:pic>
      <p:pic>
        <p:nvPicPr>
          <p:cNvPr id="9" name="Image 9">
            <a:extLst>
              <a:ext uri="{FF2B5EF4-FFF2-40B4-BE49-F238E27FC236}">
                <a16:creationId xmlns:a16="http://schemas.microsoft.com/office/drawing/2014/main" id="{7DAF9B40-23CD-4B5D-9B9B-A0C87DF76C0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64919" y="1285991"/>
            <a:ext cx="635943" cy="645350"/>
          </a:xfrm>
          <a:prstGeom prst="rect">
            <a:avLst/>
          </a:prstGeom>
        </p:spPr>
      </p:pic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7C1EE7B1-9736-4281-A4D0-2652857779D2}"/>
              </a:ext>
            </a:extLst>
          </p:cNvPr>
          <p:cNvCxnSpPr/>
          <p:nvPr/>
        </p:nvCxnSpPr>
        <p:spPr>
          <a:xfrm>
            <a:off x="5751688" y="1510035"/>
            <a:ext cx="1883" cy="4564473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3" name="Chart 6">
                <a:extLst>
                  <a:ext uri="{FF2B5EF4-FFF2-40B4-BE49-F238E27FC236}">
                    <a16:creationId xmlns:a16="http://schemas.microsoft.com/office/drawing/2014/main" id="{FA1287A8-B518-4AC2-AE25-EFF65243156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444194614"/>
                  </p:ext>
                </p:extLst>
              </p:nvPr>
            </p:nvGraphicFramePr>
            <p:xfrm>
              <a:off x="71679" y="2062045"/>
              <a:ext cx="4647377" cy="319105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13" name="Chart 6">
                <a:extLst>
                  <a:ext uri="{FF2B5EF4-FFF2-40B4-BE49-F238E27FC236}">
                    <a16:creationId xmlns:a16="http://schemas.microsoft.com/office/drawing/2014/main" id="{FA1287A8-B518-4AC2-AE25-EFF65243156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1679" y="2062045"/>
                <a:ext cx="4647377" cy="3191058"/>
              </a:xfrm>
              <a:prstGeom prst="rect">
                <a:avLst/>
              </a:prstGeom>
            </p:spPr>
          </p:pic>
        </mc:Fallback>
      </mc:AlternateContent>
      <p:pic>
        <p:nvPicPr>
          <p:cNvPr id="14" name="Image 14">
            <a:extLst>
              <a:ext uri="{FF2B5EF4-FFF2-40B4-BE49-F238E27FC236}">
                <a16:creationId xmlns:a16="http://schemas.microsoft.com/office/drawing/2014/main" id="{8EF63E1B-4ACF-49A4-BE7B-80EFE2091B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69659" y="4290382"/>
            <a:ext cx="3166534" cy="1485165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70A9A268-4833-48C9-8AFD-106C4C1442F1}"/>
              </a:ext>
            </a:extLst>
          </p:cNvPr>
          <p:cNvSpPr txBox="1"/>
          <p:nvPr/>
        </p:nvSpPr>
        <p:spPr>
          <a:xfrm>
            <a:off x="1064919" y="5514622"/>
            <a:ext cx="4208483" cy="81560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b="1">
                <a:solidFill>
                  <a:srgbClr val="051C2C"/>
                </a:solidFill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35% </a:t>
            </a:r>
            <a:r>
              <a:rPr lang="fr-FR" sz="150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des trajets sont responsables de </a:t>
            </a:r>
            <a:r>
              <a:rPr lang="fr-FR" b="1">
                <a:solidFill>
                  <a:srgbClr val="051C2C"/>
                </a:solidFill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58%</a:t>
            </a:r>
            <a:r>
              <a:rPr lang="fr-FR" sz="150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 des émissio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50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 </a:t>
            </a:r>
          </a:p>
        </p:txBody>
      </p:sp>
      <p:pic>
        <p:nvPicPr>
          <p:cNvPr id="16" name="Image 16">
            <a:extLst>
              <a:ext uri="{FF2B5EF4-FFF2-40B4-BE49-F238E27FC236}">
                <a16:creationId xmlns:a16="http://schemas.microsoft.com/office/drawing/2014/main" id="{8FC7D0A6-4D95-47DB-A001-3DD4FF9AFDD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32998" y="5514622"/>
            <a:ext cx="476016" cy="466608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00F756BE-611D-4370-8FA5-3DAE2B943519}"/>
              </a:ext>
            </a:extLst>
          </p:cNvPr>
          <p:cNvSpPr txBox="1"/>
          <p:nvPr/>
        </p:nvSpPr>
        <p:spPr>
          <a:xfrm>
            <a:off x="6062294" y="3758505"/>
            <a:ext cx="3168095" cy="16927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sz="1100" dirty="0">
                <a:latin typeface="Segoe UI Emoji" panose="020B0502040204020203" pitchFamily="34" charset="0"/>
                <a:ea typeface="Segoe UI Emoji" panose="020B0502040204020203" pitchFamily="34" charset="0"/>
                <a:cs typeface="+mn-lt"/>
              </a:rPr>
              <a:t>Disparités dans le volume d’activité des entrepôts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8C025C8B-F383-4E0C-BA9A-68595A8C6AA4}"/>
              </a:ext>
            </a:extLst>
          </p:cNvPr>
          <p:cNvSpPr txBox="1"/>
          <p:nvPr/>
        </p:nvSpPr>
        <p:spPr>
          <a:xfrm>
            <a:off x="6071422" y="5864460"/>
            <a:ext cx="3169546" cy="16927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10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Mauvais positionnement des entrepôt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1EBFFE5-22E9-44FA-83E4-1CFADC4FF2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95337" y="2482658"/>
            <a:ext cx="2824984" cy="2338426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EA538ED3-0F6F-4215-9EDE-E0F5D203A7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60229" y="2601954"/>
            <a:ext cx="2061776" cy="1592004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D433077C-4BC1-2F43-AE3F-AC13EA4F8E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325" y="2097373"/>
            <a:ext cx="2717133" cy="1604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2D99023B-A6CB-E041-9444-72FD6AB966C7}"/>
              </a:ext>
            </a:extLst>
          </p:cNvPr>
          <p:cNvSpPr/>
          <p:nvPr/>
        </p:nvSpPr>
        <p:spPr>
          <a:xfrm>
            <a:off x="3004408" y="3291871"/>
            <a:ext cx="360000" cy="360000"/>
          </a:xfrm>
          <a:prstGeom prst="ellipse">
            <a:avLst/>
          </a:prstGeom>
          <a:solidFill>
            <a:srgbClr val="FAA08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900">
                <a:solidFill>
                  <a:schemeClr val="bg1"/>
                </a:solidFill>
              </a:rPr>
              <a:t>35%</a:t>
            </a:r>
          </a:p>
        </p:txBody>
      </p:sp>
    </p:spTree>
    <p:extLst>
      <p:ext uri="{BB962C8B-B14F-4D97-AF65-F5344CB8AC3E}">
        <p14:creationId xmlns:p14="http://schemas.microsoft.com/office/powerpoint/2010/main" val="26363728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white truck parked near white building">
            <a:extLst>
              <a:ext uri="{FF2B5EF4-FFF2-40B4-BE49-F238E27FC236}">
                <a16:creationId xmlns:a16="http://schemas.microsoft.com/office/drawing/2014/main" id="{73E7FE44-BE84-D840-965A-D3C73F79BE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0" t="30739" r="11269" b="20381"/>
          <a:stretch/>
        </p:blipFill>
        <p:spPr bwMode="auto">
          <a:xfrm>
            <a:off x="0" y="1220652"/>
            <a:ext cx="12192000" cy="521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096BE81D-E633-0542-B9CD-B23FCB18D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latin typeface="Segoe UI Emoji"/>
                <a:ea typeface="Segoe UI Emoji"/>
              </a:rPr>
              <a:t>Réduction | Trois initiatives permettraient à LPD de réduire ses émission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33ECE94-7D97-4447-9283-9E989B7463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561E0703-CFB5-44FF-BD9F-210284395BC7}"/>
              </a:ext>
            </a:extLst>
          </p:cNvPr>
          <p:cNvSpPr/>
          <p:nvPr/>
        </p:nvSpPr>
        <p:spPr>
          <a:xfrm>
            <a:off x="324268" y="1648768"/>
            <a:ext cx="2946398" cy="2946399"/>
          </a:xfrm>
          <a:prstGeom prst="ellipse">
            <a:avLst/>
          </a:prstGeom>
          <a:solidFill>
            <a:srgbClr val="6DC1DB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500" b="1">
                <a:solidFill>
                  <a:schemeClr val="tx1"/>
                </a:solidFill>
                <a:cs typeface="Arial"/>
              </a:rPr>
              <a:t>Optimiser les trajets</a:t>
            </a:r>
          </a:p>
          <a:p>
            <a:pPr algn="ctr"/>
            <a:endParaRPr lang="fr-FR" sz="1400" b="1">
              <a:solidFill>
                <a:schemeClr val="tx1"/>
              </a:solidFill>
              <a:cs typeface="Arial"/>
            </a:endParaRPr>
          </a:p>
          <a:p>
            <a:pPr algn="ctr"/>
            <a:r>
              <a:rPr lang="fr-FR" sz="1300">
                <a:solidFill>
                  <a:schemeClr val="tx1"/>
                </a:solidFill>
                <a:cs typeface="Arial"/>
              </a:rPr>
              <a:t>Changer les villes desservies à chaque trajet et redessiner les itinéraires entre chaque ville</a:t>
            </a:r>
            <a:endParaRPr lang="fr-FR">
              <a:solidFill>
                <a:schemeClr val="tx1"/>
              </a:solidFill>
              <a:cs typeface="Arial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4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6A3AF541-B72F-4940-BE1E-AE6EAD7FD632}"/>
              </a:ext>
            </a:extLst>
          </p:cNvPr>
          <p:cNvSpPr/>
          <p:nvPr/>
        </p:nvSpPr>
        <p:spPr>
          <a:xfrm>
            <a:off x="6634093" y="1648768"/>
            <a:ext cx="2946399" cy="2946399"/>
          </a:xfrm>
          <a:prstGeom prst="ellipse">
            <a:avLst/>
          </a:prstGeom>
          <a:solidFill>
            <a:srgbClr val="50848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500" b="1" noProof="1">
                <a:solidFill>
                  <a:schemeClr val="tx1"/>
                </a:solidFill>
                <a:cs typeface="Arial"/>
              </a:rPr>
              <a:t>Moderniser la flotte</a:t>
            </a:r>
            <a:endParaRPr lang="en-GB" sz="1500" b="1" noProof="1">
              <a:solidFill>
                <a:schemeClr val="tx1"/>
              </a:solidFill>
              <a:ea typeface="+mn-lt"/>
              <a:cs typeface="+mn-lt"/>
            </a:endParaRPr>
          </a:p>
          <a:p>
            <a:pPr algn="ctr"/>
            <a:endParaRPr lang="en-GB" sz="1300" b="1" noProof="1">
              <a:solidFill>
                <a:schemeClr val="tx1"/>
              </a:solidFill>
              <a:cs typeface="Arial"/>
            </a:endParaRPr>
          </a:p>
          <a:p>
            <a:pPr algn="ctr"/>
            <a:r>
              <a:rPr lang="en-GB" sz="1300" noProof="1">
                <a:solidFill>
                  <a:schemeClr val="tx1"/>
                </a:solidFill>
                <a:cs typeface="Arial"/>
              </a:rPr>
              <a:t>Progressivement remplacer la flotte Diesel par une flotte électriqu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b="1" noProof="1">
              <a:solidFill>
                <a:schemeClr val="tx1"/>
              </a:solidFill>
              <a:cs typeface="Arial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D26683AA-8309-4699-84E5-AA64BEB7B7F3}"/>
              </a:ext>
            </a:extLst>
          </p:cNvPr>
          <p:cNvSpPr/>
          <p:nvPr/>
        </p:nvSpPr>
        <p:spPr>
          <a:xfrm>
            <a:off x="3479180" y="1648768"/>
            <a:ext cx="2946399" cy="2946399"/>
          </a:xfrm>
          <a:prstGeom prst="ellipse">
            <a:avLst/>
          </a:prstGeom>
          <a:solidFill>
            <a:srgbClr val="E8BDA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500" b="1" noProof="1">
                <a:solidFill>
                  <a:schemeClr val="tx1"/>
                </a:solidFill>
                <a:ea typeface="+mn-lt"/>
                <a:cs typeface="+mn-lt"/>
              </a:rPr>
              <a:t>Repenser le maillage des entrepôts</a:t>
            </a:r>
          </a:p>
          <a:p>
            <a:pPr algn="ctr"/>
            <a:endParaRPr lang="en-GB" sz="1400" b="1" noProof="1">
              <a:solidFill>
                <a:schemeClr val="tx1"/>
              </a:solidFill>
              <a:cs typeface="Arial"/>
            </a:endParaRPr>
          </a:p>
          <a:p>
            <a:pPr algn="ctr"/>
            <a:r>
              <a:rPr lang="en-GB" sz="1300" noProof="1">
                <a:solidFill>
                  <a:schemeClr val="tx1"/>
                </a:solidFill>
                <a:cs typeface="Arial"/>
              </a:rPr>
              <a:t>Construire des entrepôts à des placement stratégiques et vendre certains entrepôt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400" b="1" noProof="1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40744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6BE81D-E633-0542-B9CD-B23FCB18D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latin typeface="Segoe UI Emoji"/>
                <a:ea typeface="Segoe UI Emoji"/>
              </a:rPr>
              <a:t>Solution Trajets | LPD pourrait réduire à court-terme de </a:t>
            </a:r>
            <a:r>
              <a:rPr lang="fr-FR" dirty="0">
                <a:latin typeface="Segoe UI Emoji"/>
                <a:ea typeface="Segoe UI Emoji"/>
              </a:rPr>
              <a:t>40%</a:t>
            </a:r>
            <a:r>
              <a:rPr lang="fr-FR">
                <a:latin typeface="Segoe UI Emoji"/>
                <a:ea typeface="Segoe UI Emoji"/>
              </a:rPr>
              <a:t> ses émissions en optimisant les trajets </a:t>
            </a:r>
            <a:r>
              <a:rPr lang="fr-FR">
                <a:latin typeface="Segoe UI Emoji" panose="020B0502040204020203" pitchFamily="34" charset="0"/>
                <a:ea typeface="Segoe UI Emoji" panose="020B0502040204020203" pitchFamily="34" charset="0"/>
              </a:rPr>
              <a:t>et en augmentant les délais de livrais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33ECE94-7D97-4447-9283-9E989B7463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B65788C-C40D-B646-A136-A63A70766DE3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>
                <a:latin typeface="Segoe UI Emoji" panose="020B0502040204020203" pitchFamily="34" charset="0"/>
                <a:ea typeface="Segoe UI Emoji" panose="020B0502040204020203" pitchFamily="34" charset="0"/>
              </a:rPr>
              <a:t>Source : Donnée client, Analyse CentraleSupélec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0DF09FD-20B9-E14F-850C-4D573000A39F}"/>
              </a:ext>
            </a:extLst>
          </p:cNvPr>
          <p:cNvSpPr txBox="1"/>
          <p:nvPr/>
        </p:nvSpPr>
        <p:spPr>
          <a:xfrm>
            <a:off x="11234057" y="-78377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9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cxnSp>
        <p:nvCxnSpPr>
          <p:cNvPr id="8" name="LineContentSeparatorDefault 192">
            <a:extLst>
              <a:ext uri="{FF2B5EF4-FFF2-40B4-BE49-F238E27FC236}">
                <a16:creationId xmlns:a16="http://schemas.microsoft.com/office/drawing/2014/main" id="{DB73BA26-0641-4F0D-AABD-96E36DBB7BCF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gray">
          <a:xfrm>
            <a:off x="554736" y="2841621"/>
            <a:ext cx="5516047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A6B1515C-FC3D-492B-A55E-4DB2F169A90A}"/>
              </a:ext>
            </a:extLst>
          </p:cNvPr>
          <p:cNvGrpSpPr/>
          <p:nvPr/>
        </p:nvGrpSpPr>
        <p:grpSpPr>
          <a:xfrm>
            <a:off x="6192520" y="1410748"/>
            <a:ext cx="561491" cy="4852436"/>
            <a:chOff x="6284989" y="1441006"/>
            <a:chExt cx="561491" cy="4852436"/>
          </a:xfrm>
        </p:grpSpPr>
        <p:grpSp>
          <p:nvGrpSpPr>
            <p:cNvPr id="11" name="ChevronBlue 25">
              <a:extLst>
                <a:ext uri="{FF2B5EF4-FFF2-40B4-BE49-F238E27FC236}">
                  <a16:creationId xmlns:a16="http://schemas.microsoft.com/office/drawing/2014/main" id="{756DE924-4139-4F75-A2EA-9E14DA4C71C1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gray">
            <a:xfrm>
              <a:off x="6284989" y="3582819"/>
              <a:ext cx="561491" cy="568799"/>
              <a:chOff x="1097979" y="1066249"/>
              <a:chExt cx="232469" cy="232469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08BBF36-90A7-4722-B9BE-F04A0F977FFB}"/>
                  </a:ext>
                </a:extLst>
              </p:cNvPr>
              <p:cNvSpPr/>
              <p:nvPr/>
            </p:nvSpPr>
            <p:spPr bwMode="gray">
              <a:xfrm>
                <a:off x="1108637" y="1087012"/>
                <a:ext cx="198113" cy="198856"/>
              </a:xfrm>
              <a:prstGeom prst="ellipse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Emoji" panose="020B0502040204020203" pitchFamily="34" charset="0"/>
                  <a:ea typeface="Segoe UI Emoji" panose="020B0502040204020203" pitchFamily="34" charset="0"/>
                </a:endParaRPr>
              </a:p>
            </p:txBody>
          </p:sp>
          <p:pic>
            <p:nvPicPr>
              <p:cNvPr id="15" name="Graphic 14">
                <a:extLst>
                  <a:ext uri="{FF2B5EF4-FFF2-40B4-BE49-F238E27FC236}">
                    <a16:creationId xmlns:a16="http://schemas.microsoft.com/office/drawing/2014/main" id="{8689BCAB-92F3-49A4-A975-496E78881C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 bwMode="gray">
              <a:xfrm>
                <a:off x="1097979" y="1066249"/>
                <a:ext cx="232469" cy="232469"/>
              </a:xfrm>
              <a:prstGeom prst="rect">
                <a:avLst/>
              </a:prstGeom>
            </p:spPr>
          </p:pic>
        </p:grp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5C84E04-EE50-4503-95F4-BF73072E2C4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551239" y="1441006"/>
              <a:ext cx="618" cy="1980000"/>
            </a:xfrm>
            <a:prstGeom prst="line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6B62BC5-D129-45E2-A75A-3C0E53BA1828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6550603" y="4313442"/>
              <a:ext cx="15132" cy="1980000"/>
            </a:xfrm>
            <a:prstGeom prst="line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21" descr="Shape&#10;&#10;Description automatically generated with low confidence">
            <a:extLst>
              <a:ext uri="{FF2B5EF4-FFF2-40B4-BE49-F238E27FC236}">
                <a16:creationId xmlns:a16="http://schemas.microsoft.com/office/drawing/2014/main" id="{69AD2F55-3292-4196-9822-9C3476B6743E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21885" y="1380087"/>
            <a:ext cx="478324" cy="47832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18DDD261-D622-47F0-AB02-C09E4AE90486}"/>
              </a:ext>
            </a:extLst>
          </p:cNvPr>
          <p:cNvSpPr txBox="1"/>
          <p:nvPr/>
        </p:nvSpPr>
        <p:spPr>
          <a:xfrm>
            <a:off x="1214631" y="1380087"/>
            <a:ext cx="4856152" cy="12540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b="1">
                <a:latin typeface="Segoe UI Emoji" panose="020B0502040204020203" pitchFamily="34" charset="0"/>
                <a:ea typeface="Segoe UI Emoji" panose="020B0502040204020203" pitchFamily="34" charset="0"/>
              </a:rPr>
              <a:t>Diagnostic</a:t>
            </a:r>
            <a:endParaRPr lang="fr-FR" sz="1400" b="1">
              <a:latin typeface="Segoe UI Emoji" panose="020B0502040204020203" pitchFamily="34" charset="0"/>
              <a:ea typeface="Segoe UI Emoji" panose="020B0502040204020203" pitchFamily="34" charset="0"/>
            </a:endParaRPr>
          </a:p>
          <a:p>
            <a:pPr algn="just">
              <a:spcBef>
                <a:spcPts val="300"/>
              </a:spcBef>
              <a:spcAft>
                <a:spcPts val="300"/>
              </a:spcAft>
            </a:pP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</a:rPr>
              <a:t>Les trajets actuels / itinéraires ne sont pas choisis de manière optimale</a:t>
            </a:r>
          </a:p>
          <a:p>
            <a:pPr algn="just">
              <a:spcBef>
                <a:spcPts val="300"/>
              </a:spcBef>
              <a:spcAft>
                <a:spcPts val="300"/>
              </a:spcAft>
            </a:pP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</a:rPr>
              <a:t>De nombreux aller/retour sont effectués et on pourrait mieux répartir les colis dans le différents camions</a:t>
            </a:r>
            <a:endParaRPr lang="fr-FR" sz="9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7D0E178-1AE3-4C03-A4B3-988BD2548E33}"/>
              </a:ext>
            </a:extLst>
          </p:cNvPr>
          <p:cNvSpPr txBox="1"/>
          <p:nvPr/>
        </p:nvSpPr>
        <p:spPr>
          <a:xfrm>
            <a:off x="1214631" y="2987298"/>
            <a:ext cx="5080874" cy="125402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b="1">
                <a:latin typeface="Segoe UI Emoji" panose="020B0502040204020203" pitchFamily="34" charset="0"/>
                <a:ea typeface="Segoe UI Emoji" panose="020B0502040204020203" pitchFamily="34" charset="0"/>
              </a:rPr>
              <a:t>Plan d’action</a:t>
            </a:r>
            <a:r>
              <a:rPr lang="fr-FR" sz="1400" b="1">
                <a:latin typeface="Segoe UI Emoji" panose="020B0502040204020203" pitchFamily="34" charset="0"/>
                <a:ea typeface="Segoe UI Emoji" panose="020B0502040204020203" pitchFamily="34" charset="0"/>
              </a:rPr>
              <a:t> : </a:t>
            </a:r>
            <a:r>
              <a:rPr lang="fr-FR" b="1">
                <a:latin typeface="Segoe UI Emoji" panose="020B0502040204020203" pitchFamily="34" charset="0"/>
                <a:ea typeface="Segoe UI Emoji" panose="020B0502040204020203" pitchFamily="34" charset="0"/>
              </a:rPr>
              <a:t>Implémentation d’un algorithme </a:t>
            </a:r>
            <a:endParaRPr lang="fr-FR" sz="1400" b="1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pic>
        <p:nvPicPr>
          <p:cNvPr id="32" name="Picture 31" descr="Shape&#10;&#10;Description automatically generated with low confidence">
            <a:extLst>
              <a:ext uri="{FF2B5EF4-FFF2-40B4-BE49-F238E27FC236}">
                <a16:creationId xmlns:a16="http://schemas.microsoft.com/office/drawing/2014/main" id="{146C063E-DE73-435F-9E60-7D26196FDAFC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1885" y="2987298"/>
            <a:ext cx="478324" cy="478324"/>
          </a:xfrm>
          <a:prstGeom prst="rect">
            <a:avLst/>
          </a:prstGeom>
        </p:spPr>
      </p:pic>
      <p:graphicFrame>
        <p:nvGraphicFramePr>
          <p:cNvPr id="33" name="Table 33">
            <a:extLst>
              <a:ext uri="{FF2B5EF4-FFF2-40B4-BE49-F238E27FC236}">
                <a16:creationId xmlns:a16="http://schemas.microsoft.com/office/drawing/2014/main" id="{8599C3C1-13EA-4C3A-800B-885511B1F9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0854440"/>
              </p:ext>
            </p:extLst>
          </p:nvPr>
        </p:nvGraphicFramePr>
        <p:xfrm>
          <a:off x="1214631" y="3379696"/>
          <a:ext cx="4856152" cy="14300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446077">
                  <a:extLst>
                    <a:ext uri="{9D8B030D-6E8A-4147-A177-3AD203B41FA5}">
                      <a16:colId xmlns:a16="http://schemas.microsoft.com/office/drawing/2014/main" val="2042401672"/>
                    </a:ext>
                  </a:extLst>
                </a:gridCol>
                <a:gridCol w="2410075">
                  <a:extLst>
                    <a:ext uri="{9D8B030D-6E8A-4147-A177-3AD203B41FA5}">
                      <a16:colId xmlns:a16="http://schemas.microsoft.com/office/drawing/2014/main" val="198257894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sz="1400" b="0">
                          <a:latin typeface="Segoe UI Emoji" panose="020B0502040204020203" pitchFamily="34" charset="0"/>
                          <a:ea typeface="Segoe UI Emoji" panose="020B0502040204020203" pitchFamily="34" charset="0"/>
                        </a:rPr>
                        <a:t>Inpu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0">
                          <a:latin typeface="Segoe UI Emoji" panose="020B0502040204020203" pitchFamily="34" charset="0"/>
                          <a:ea typeface="Segoe UI Emoji" panose="020B0502040204020203" pitchFamily="34" charset="0"/>
                        </a:rPr>
                        <a:t>Outpu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441380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>
                          <a:latin typeface="Segoe UI Emoji" panose="020B0502040204020203" pitchFamily="34" charset="0"/>
                          <a:ea typeface="Segoe UI Emoji" panose="020B0502040204020203" pitchFamily="34" charset="0"/>
                        </a:rPr>
                        <a:t>L’ensemble des colis à livrer sur une période donnée</a:t>
                      </a:r>
                    </a:p>
                    <a:p>
                      <a:endParaRPr lang="fr-FR" sz="1400">
                        <a:latin typeface="Segoe UI Emoji" panose="020B0502040204020203" pitchFamily="34" charset="0"/>
                        <a:ea typeface="Segoe UI Emoji" panose="020B0502040204020203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just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latin typeface="Segoe UI Emoji" panose="020B0502040204020203" pitchFamily="34" charset="0"/>
                          <a:ea typeface="Segoe UI Emoji" panose="020B0502040204020203" pitchFamily="34" charset="0"/>
                        </a:rPr>
                        <a:t>Les trajets à prendre</a:t>
                      </a:r>
                    </a:p>
                    <a:p>
                      <a:pPr marL="285750" indent="-285750" algn="just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latin typeface="Segoe UI Emoji" panose="020B0502040204020203" pitchFamily="34" charset="0"/>
                          <a:ea typeface="Segoe UI Emoji" panose="020B0502040204020203" pitchFamily="34" charset="0"/>
                        </a:rPr>
                        <a:t>Les itinérair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latin typeface="Segoe UI Emoji" panose="020B0502040204020203" pitchFamily="34" charset="0"/>
                          <a:ea typeface="Segoe UI Emoji" panose="020B0502040204020203" pitchFamily="34" charset="0"/>
                        </a:rPr>
                        <a:t>Les chargements des camion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1691884"/>
                  </a:ext>
                </a:extLst>
              </a:tr>
            </a:tbl>
          </a:graphicData>
        </a:graphic>
      </p:graphicFrame>
      <p:cxnSp>
        <p:nvCxnSpPr>
          <p:cNvPr id="36" name="LineContentSeparatorDefault 192">
            <a:extLst>
              <a:ext uri="{FF2B5EF4-FFF2-40B4-BE49-F238E27FC236}">
                <a16:creationId xmlns:a16="http://schemas.microsoft.com/office/drawing/2014/main" id="{E375CDF0-A192-4656-8F1D-13DF4788418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gray">
          <a:xfrm>
            <a:off x="580673" y="4892425"/>
            <a:ext cx="5490110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aphic 37" descr="Delivery outline">
            <a:extLst>
              <a:ext uri="{FF2B5EF4-FFF2-40B4-BE49-F238E27FC236}">
                <a16:creationId xmlns:a16="http://schemas.microsoft.com/office/drawing/2014/main" id="{41AC6195-D3E5-4CFF-A085-79D314BF64BB}"/>
              </a:ext>
            </a:extLst>
          </p:cNvPr>
          <p:cNvGrpSpPr/>
          <p:nvPr/>
        </p:nvGrpSpPr>
        <p:grpSpPr>
          <a:xfrm>
            <a:off x="477191" y="5068172"/>
            <a:ext cx="577652" cy="409626"/>
            <a:chOff x="694748" y="5393688"/>
            <a:chExt cx="932453" cy="517526"/>
          </a:xfrm>
          <a:solidFill>
            <a:srgbClr val="051C2C"/>
          </a:solidFill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DC62F73-CCAB-422C-80C4-6B996719754F}"/>
                </a:ext>
              </a:extLst>
            </p:cNvPr>
            <p:cNvSpPr/>
            <p:nvPr/>
          </p:nvSpPr>
          <p:spPr>
            <a:xfrm>
              <a:off x="909068" y="5745582"/>
              <a:ext cx="167678" cy="165632"/>
            </a:xfrm>
            <a:custGeom>
              <a:avLst/>
              <a:gdLst>
                <a:gd name="connsiteX0" fmla="*/ 95374 w 167678"/>
                <a:gd name="connsiteY0" fmla="*/ 17 h 165632"/>
                <a:gd name="connsiteX1" fmla="*/ 1214 w 167678"/>
                <a:gd name="connsiteY1" fmla="*/ 81181 h 165632"/>
                <a:gd name="connsiteX2" fmla="*/ 16880 w 167678"/>
                <a:gd name="connsiteY2" fmla="*/ 141092 h 165632"/>
                <a:gd name="connsiteX3" fmla="*/ 72310 w 167678"/>
                <a:gd name="connsiteY3" fmla="*/ 165615 h 165632"/>
                <a:gd name="connsiteX4" fmla="*/ 166460 w 167678"/>
                <a:gd name="connsiteY4" fmla="*/ 84451 h 165632"/>
                <a:gd name="connsiteX5" fmla="*/ 150794 w 167678"/>
                <a:gd name="connsiteY5" fmla="*/ 24540 h 165632"/>
                <a:gd name="connsiteX6" fmla="*/ 95374 w 167678"/>
                <a:gd name="connsiteY6" fmla="*/ 17 h 165632"/>
                <a:gd name="connsiteX7" fmla="*/ 146076 w 167678"/>
                <a:gd name="connsiteY7" fmla="*/ 81181 h 165632"/>
                <a:gd name="connsiteX8" fmla="*/ 72300 w 167678"/>
                <a:gd name="connsiteY8" fmla="*/ 144920 h 165632"/>
                <a:gd name="connsiteX9" fmla="*/ 32618 w 167678"/>
                <a:gd name="connsiteY9" fmla="*/ 127661 h 165632"/>
                <a:gd name="connsiteX10" fmla="*/ 21598 w 167678"/>
                <a:gd name="connsiteY10" fmla="*/ 84451 h 165632"/>
                <a:gd name="connsiteX11" fmla="*/ 95374 w 167678"/>
                <a:gd name="connsiteY11" fmla="*/ 20711 h 165632"/>
                <a:gd name="connsiteX12" fmla="*/ 135066 w 167678"/>
                <a:gd name="connsiteY12" fmla="*/ 37971 h 165632"/>
                <a:gd name="connsiteX13" fmla="*/ 146035 w 167678"/>
                <a:gd name="connsiteY13" fmla="*/ 81181 h 16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7678" h="165632">
                  <a:moveTo>
                    <a:pt x="95374" y="17"/>
                  </a:moveTo>
                  <a:cubicBezTo>
                    <a:pt x="48811" y="1577"/>
                    <a:pt x="9622" y="35357"/>
                    <a:pt x="1214" y="81181"/>
                  </a:cubicBezTo>
                  <a:cubicBezTo>
                    <a:pt x="-2721" y="102487"/>
                    <a:pt x="3018" y="124440"/>
                    <a:pt x="16880" y="141092"/>
                  </a:cubicBezTo>
                  <a:cubicBezTo>
                    <a:pt x="30798" y="157093"/>
                    <a:pt x="51108" y="166079"/>
                    <a:pt x="72310" y="165615"/>
                  </a:cubicBezTo>
                  <a:cubicBezTo>
                    <a:pt x="118870" y="164055"/>
                    <a:pt x="158056" y="130273"/>
                    <a:pt x="166460" y="84451"/>
                  </a:cubicBezTo>
                  <a:cubicBezTo>
                    <a:pt x="170404" y="63145"/>
                    <a:pt x="164663" y="41188"/>
                    <a:pt x="150794" y="24540"/>
                  </a:cubicBezTo>
                  <a:cubicBezTo>
                    <a:pt x="136879" y="8542"/>
                    <a:pt x="116573" y="-444"/>
                    <a:pt x="95374" y="17"/>
                  </a:cubicBezTo>
                  <a:close/>
                  <a:moveTo>
                    <a:pt x="146076" y="81181"/>
                  </a:moveTo>
                  <a:cubicBezTo>
                    <a:pt x="139532" y="117133"/>
                    <a:pt x="108820" y="143666"/>
                    <a:pt x="72300" y="144920"/>
                  </a:cubicBezTo>
                  <a:cubicBezTo>
                    <a:pt x="57166" y="145347"/>
                    <a:pt x="42626" y="139022"/>
                    <a:pt x="32618" y="127661"/>
                  </a:cubicBezTo>
                  <a:cubicBezTo>
                    <a:pt x="22711" y="115609"/>
                    <a:pt x="18674" y="99776"/>
                    <a:pt x="21598" y="84451"/>
                  </a:cubicBezTo>
                  <a:cubicBezTo>
                    <a:pt x="28137" y="48497"/>
                    <a:pt x="58851" y="21961"/>
                    <a:pt x="95374" y="20711"/>
                  </a:cubicBezTo>
                  <a:cubicBezTo>
                    <a:pt x="110511" y="20287"/>
                    <a:pt x="125054" y="26610"/>
                    <a:pt x="135066" y="37971"/>
                  </a:cubicBezTo>
                  <a:cubicBezTo>
                    <a:pt x="144949" y="50035"/>
                    <a:pt x="148967" y="65864"/>
                    <a:pt x="146035" y="81181"/>
                  </a:cubicBezTo>
                  <a:close/>
                </a:path>
              </a:pathLst>
            </a:custGeom>
            <a:grpFill/>
            <a:ln w="12700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5533581-5D34-4950-98AA-C7C6D8B36288}"/>
                </a:ext>
              </a:extLst>
            </p:cNvPr>
            <p:cNvSpPr/>
            <p:nvPr/>
          </p:nvSpPr>
          <p:spPr>
            <a:xfrm>
              <a:off x="694748" y="5393688"/>
              <a:ext cx="932453" cy="434710"/>
            </a:xfrm>
            <a:custGeom>
              <a:avLst/>
              <a:gdLst>
                <a:gd name="connsiteX0" fmla="*/ 920536 w 932453"/>
                <a:gd name="connsiteY0" fmla="*/ 256685 h 434710"/>
                <a:gd name="connsiteX1" fmla="*/ 872297 w 932453"/>
                <a:gd name="connsiteY1" fmla="*/ 215296 h 434710"/>
                <a:gd name="connsiteX2" fmla="*/ 861278 w 932453"/>
                <a:gd name="connsiteY2" fmla="*/ 193567 h 434710"/>
                <a:gd name="connsiteX3" fmla="*/ 851965 w 932453"/>
                <a:gd name="connsiteY3" fmla="*/ 122170 h 434710"/>
                <a:gd name="connsiteX4" fmla="*/ 781883 w 932453"/>
                <a:gd name="connsiteY4" fmla="*/ 62084 h 434710"/>
                <a:gd name="connsiteX5" fmla="*/ 688685 w 932453"/>
                <a:gd name="connsiteY5" fmla="*/ 62084 h 434710"/>
                <a:gd name="connsiteX6" fmla="*/ 698628 w 932453"/>
                <a:gd name="connsiteY6" fmla="*/ 0 h 434710"/>
                <a:gd name="connsiteX7" fmla="*/ 181264 w 932453"/>
                <a:gd name="connsiteY7" fmla="*/ 0 h 434710"/>
                <a:gd name="connsiteX8" fmla="*/ 166488 w 932453"/>
                <a:gd name="connsiteY8" fmla="*/ 92577 h 434710"/>
                <a:gd name="connsiteX9" fmla="*/ 46346 w 932453"/>
                <a:gd name="connsiteY9" fmla="*/ 92577 h 434710"/>
                <a:gd name="connsiteX10" fmla="*/ 43045 w 932453"/>
                <a:gd name="connsiteY10" fmla="*/ 113272 h 434710"/>
                <a:gd name="connsiteX11" fmla="*/ 163187 w 932453"/>
                <a:gd name="connsiteY11" fmla="*/ 113272 h 434710"/>
                <a:gd name="connsiteX12" fmla="*/ 154909 w 932453"/>
                <a:gd name="connsiteY12" fmla="*/ 165008 h 434710"/>
                <a:gd name="connsiteX13" fmla="*/ 80709 w 932453"/>
                <a:gd name="connsiteY13" fmla="*/ 165008 h 434710"/>
                <a:gd name="connsiteX14" fmla="*/ 77408 w 932453"/>
                <a:gd name="connsiteY14" fmla="*/ 185703 h 434710"/>
                <a:gd name="connsiteX15" fmla="*/ 151650 w 932453"/>
                <a:gd name="connsiteY15" fmla="*/ 185703 h 434710"/>
                <a:gd name="connsiteX16" fmla="*/ 145048 w 932453"/>
                <a:gd name="connsiteY16" fmla="*/ 227092 h 434710"/>
                <a:gd name="connsiteX17" fmla="*/ 3301 w 932453"/>
                <a:gd name="connsiteY17" fmla="*/ 227092 h 434710"/>
                <a:gd name="connsiteX18" fmla="*/ 0 w 932453"/>
                <a:gd name="connsiteY18" fmla="*/ 247787 h 434710"/>
                <a:gd name="connsiteX19" fmla="*/ 141758 w 932453"/>
                <a:gd name="connsiteY19" fmla="*/ 247787 h 434710"/>
                <a:gd name="connsiteX20" fmla="*/ 111896 w 932453"/>
                <a:gd name="connsiteY20" fmla="*/ 434710 h 434710"/>
                <a:gd name="connsiteX21" fmla="*/ 194612 w 932453"/>
                <a:gd name="connsiteY21" fmla="*/ 434710 h 434710"/>
                <a:gd name="connsiteX22" fmla="*/ 194788 w 932453"/>
                <a:gd name="connsiteY22" fmla="*/ 433076 h 434710"/>
                <a:gd name="connsiteX23" fmla="*/ 199682 w 932453"/>
                <a:gd name="connsiteY23" fmla="*/ 414016 h 434710"/>
                <a:gd name="connsiteX24" fmla="*/ 136150 w 932453"/>
                <a:gd name="connsiteY24" fmla="*/ 414016 h 434710"/>
                <a:gd name="connsiteX25" fmla="*/ 157724 w 932453"/>
                <a:gd name="connsiteY25" fmla="*/ 278828 h 434710"/>
                <a:gd name="connsiteX26" fmla="*/ 633306 w 932453"/>
                <a:gd name="connsiteY26" fmla="*/ 278828 h 434710"/>
                <a:gd name="connsiteX27" fmla="*/ 611732 w 932453"/>
                <a:gd name="connsiteY27" fmla="*/ 414016 h 434710"/>
                <a:gd name="connsiteX28" fmla="*/ 402572 w 932453"/>
                <a:gd name="connsiteY28" fmla="*/ 414016 h 434710"/>
                <a:gd name="connsiteX29" fmla="*/ 401661 w 932453"/>
                <a:gd name="connsiteY29" fmla="*/ 434710 h 434710"/>
                <a:gd name="connsiteX30" fmla="*/ 629208 w 932453"/>
                <a:gd name="connsiteY30" fmla="*/ 434710 h 434710"/>
                <a:gd name="connsiteX31" fmla="*/ 632685 w 932453"/>
                <a:gd name="connsiteY31" fmla="*/ 414016 h 434710"/>
                <a:gd name="connsiteX32" fmla="*/ 685549 w 932453"/>
                <a:gd name="connsiteY32" fmla="*/ 82778 h 434710"/>
                <a:gd name="connsiteX33" fmla="*/ 726680 w 932453"/>
                <a:gd name="connsiteY33" fmla="*/ 82778 h 434710"/>
                <a:gd name="connsiteX34" fmla="*/ 703616 w 932453"/>
                <a:gd name="connsiteY34" fmla="*/ 227092 h 434710"/>
                <a:gd name="connsiteX35" fmla="*/ 854997 w 932453"/>
                <a:gd name="connsiteY35" fmla="*/ 227092 h 434710"/>
                <a:gd name="connsiteX36" fmla="*/ 859022 w 932453"/>
                <a:gd name="connsiteY36" fmla="*/ 231169 h 434710"/>
                <a:gd name="connsiteX37" fmla="*/ 906754 w 932453"/>
                <a:gd name="connsiteY37" fmla="*/ 272134 h 434710"/>
                <a:gd name="connsiteX38" fmla="*/ 911369 w 932453"/>
                <a:gd name="connsiteY38" fmla="*/ 286548 h 434710"/>
                <a:gd name="connsiteX39" fmla="*/ 894813 w 932453"/>
                <a:gd name="connsiteY39" fmla="*/ 390020 h 434710"/>
                <a:gd name="connsiteX40" fmla="*/ 867258 w 932453"/>
                <a:gd name="connsiteY40" fmla="*/ 413985 h 434710"/>
                <a:gd name="connsiteX41" fmla="*/ 837168 w 932453"/>
                <a:gd name="connsiteY41" fmla="*/ 413985 h 434710"/>
                <a:gd name="connsiteX42" fmla="*/ 836258 w 932453"/>
                <a:gd name="connsiteY42" fmla="*/ 434679 h 434710"/>
                <a:gd name="connsiteX43" fmla="*/ 867300 w 932453"/>
                <a:gd name="connsiteY43" fmla="*/ 434679 h 434710"/>
                <a:gd name="connsiteX44" fmla="*/ 915290 w 932453"/>
                <a:gd name="connsiteY44" fmla="*/ 393290 h 434710"/>
                <a:gd name="connsiteX45" fmla="*/ 931846 w 932453"/>
                <a:gd name="connsiteY45" fmla="*/ 289817 h 434710"/>
                <a:gd name="connsiteX46" fmla="*/ 920536 w 932453"/>
                <a:gd name="connsiteY46" fmla="*/ 256685 h 434710"/>
                <a:gd name="connsiteX47" fmla="*/ 668249 w 932453"/>
                <a:gd name="connsiteY47" fmla="*/ 58835 h 434710"/>
                <a:gd name="connsiteX48" fmla="*/ 664420 w 932453"/>
                <a:gd name="connsiteY48" fmla="*/ 82778 h 434710"/>
                <a:gd name="connsiteX49" fmla="*/ 664596 w 932453"/>
                <a:gd name="connsiteY49" fmla="*/ 82778 h 434710"/>
                <a:gd name="connsiteX50" fmla="*/ 636659 w 932453"/>
                <a:gd name="connsiteY50" fmla="*/ 258113 h 434710"/>
                <a:gd name="connsiteX51" fmla="*/ 161025 w 932453"/>
                <a:gd name="connsiteY51" fmla="*/ 258113 h 434710"/>
                <a:gd name="connsiteX52" fmla="*/ 198916 w 932453"/>
                <a:gd name="connsiteY52" fmla="*/ 20695 h 434710"/>
                <a:gd name="connsiteX53" fmla="*/ 674354 w 932453"/>
                <a:gd name="connsiteY53" fmla="*/ 20695 h 434710"/>
                <a:gd name="connsiteX54" fmla="*/ 727901 w 932453"/>
                <a:gd name="connsiteY54" fmla="*/ 206397 h 434710"/>
                <a:gd name="connsiteX55" fmla="*/ 747633 w 932453"/>
                <a:gd name="connsiteY55" fmla="*/ 82778 h 434710"/>
                <a:gd name="connsiteX56" fmla="*/ 781883 w 932453"/>
                <a:gd name="connsiteY56" fmla="*/ 82778 h 434710"/>
                <a:gd name="connsiteX57" fmla="*/ 831457 w 932453"/>
                <a:gd name="connsiteY57" fmla="*/ 124788 h 434710"/>
                <a:gd name="connsiteX58" fmla="*/ 840707 w 932453"/>
                <a:gd name="connsiteY58" fmla="*/ 195843 h 434710"/>
                <a:gd name="connsiteX59" fmla="*/ 842777 w 932453"/>
                <a:gd name="connsiteY59" fmla="*/ 206377 h 43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32453" h="434710">
                  <a:moveTo>
                    <a:pt x="920536" y="256685"/>
                  </a:moveTo>
                  <a:lnTo>
                    <a:pt x="872297" y="215296"/>
                  </a:lnTo>
                  <a:cubicBezTo>
                    <a:pt x="865888" y="209801"/>
                    <a:pt x="861924" y="201984"/>
                    <a:pt x="861278" y="193567"/>
                  </a:cubicBezTo>
                  <a:lnTo>
                    <a:pt x="851965" y="122170"/>
                  </a:lnTo>
                  <a:cubicBezTo>
                    <a:pt x="847426" y="87157"/>
                    <a:pt x="817179" y="61224"/>
                    <a:pt x="781883" y="62084"/>
                  </a:cubicBezTo>
                  <a:lnTo>
                    <a:pt x="688685" y="62084"/>
                  </a:lnTo>
                  <a:lnTo>
                    <a:pt x="698628" y="0"/>
                  </a:lnTo>
                  <a:lnTo>
                    <a:pt x="181264" y="0"/>
                  </a:lnTo>
                  <a:lnTo>
                    <a:pt x="166488" y="92577"/>
                  </a:lnTo>
                  <a:lnTo>
                    <a:pt x="46346" y="92577"/>
                  </a:lnTo>
                  <a:lnTo>
                    <a:pt x="43045" y="113272"/>
                  </a:lnTo>
                  <a:lnTo>
                    <a:pt x="163187" y="113272"/>
                  </a:lnTo>
                  <a:lnTo>
                    <a:pt x="154909" y="165008"/>
                  </a:lnTo>
                  <a:lnTo>
                    <a:pt x="80709" y="165008"/>
                  </a:lnTo>
                  <a:lnTo>
                    <a:pt x="77408" y="185703"/>
                  </a:lnTo>
                  <a:lnTo>
                    <a:pt x="151650" y="185703"/>
                  </a:lnTo>
                  <a:lnTo>
                    <a:pt x="145048" y="227092"/>
                  </a:lnTo>
                  <a:lnTo>
                    <a:pt x="3301" y="227092"/>
                  </a:lnTo>
                  <a:lnTo>
                    <a:pt x="0" y="247787"/>
                  </a:lnTo>
                  <a:lnTo>
                    <a:pt x="141758" y="247787"/>
                  </a:lnTo>
                  <a:lnTo>
                    <a:pt x="111896" y="434710"/>
                  </a:lnTo>
                  <a:lnTo>
                    <a:pt x="194612" y="434710"/>
                  </a:lnTo>
                  <a:cubicBezTo>
                    <a:pt x="194684" y="434162"/>
                    <a:pt x="194705" y="433624"/>
                    <a:pt x="194788" y="433076"/>
                  </a:cubicBezTo>
                  <a:cubicBezTo>
                    <a:pt x="195851" y="426590"/>
                    <a:pt x="197489" y="420212"/>
                    <a:pt x="199682" y="414016"/>
                  </a:cubicBezTo>
                  <a:lnTo>
                    <a:pt x="136150" y="414016"/>
                  </a:lnTo>
                  <a:lnTo>
                    <a:pt x="157724" y="278828"/>
                  </a:lnTo>
                  <a:lnTo>
                    <a:pt x="633306" y="278828"/>
                  </a:lnTo>
                  <a:lnTo>
                    <a:pt x="611732" y="414016"/>
                  </a:lnTo>
                  <a:lnTo>
                    <a:pt x="402572" y="414016"/>
                  </a:lnTo>
                  <a:cubicBezTo>
                    <a:pt x="402970" y="420927"/>
                    <a:pt x="402665" y="427861"/>
                    <a:pt x="401661" y="434710"/>
                  </a:cubicBezTo>
                  <a:lnTo>
                    <a:pt x="629208" y="434710"/>
                  </a:lnTo>
                  <a:lnTo>
                    <a:pt x="632685" y="414016"/>
                  </a:lnTo>
                  <a:lnTo>
                    <a:pt x="685549" y="82778"/>
                  </a:lnTo>
                  <a:lnTo>
                    <a:pt x="726680" y="82778"/>
                  </a:lnTo>
                  <a:lnTo>
                    <a:pt x="703616" y="227092"/>
                  </a:lnTo>
                  <a:lnTo>
                    <a:pt x="854997" y="227092"/>
                  </a:lnTo>
                  <a:cubicBezTo>
                    <a:pt x="856257" y="228529"/>
                    <a:pt x="857600" y="229891"/>
                    <a:pt x="859022" y="231169"/>
                  </a:cubicBezTo>
                  <a:lnTo>
                    <a:pt x="906754" y="272134"/>
                  </a:lnTo>
                  <a:cubicBezTo>
                    <a:pt x="910778" y="275755"/>
                    <a:pt x="912542" y="281262"/>
                    <a:pt x="911369" y="286548"/>
                  </a:cubicBezTo>
                  <a:lnTo>
                    <a:pt x="894813" y="390020"/>
                  </a:lnTo>
                  <a:cubicBezTo>
                    <a:pt x="892138" y="403341"/>
                    <a:pt x="880820" y="413184"/>
                    <a:pt x="867258" y="413985"/>
                  </a:cubicBezTo>
                  <a:lnTo>
                    <a:pt x="837168" y="413985"/>
                  </a:lnTo>
                  <a:cubicBezTo>
                    <a:pt x="837562" y="420896"/>
                    <a:pt x="837256" y="427829"/>
                    <a:pt x="836258" y="434679"/>
                  </a:cubicBezTo>
                  <a:lnTo>
                    <a:pt x="867300" y="434679"/>
                  </a:lnTo>
                  <a:cubicBezTo>
                    <a:pt x="891024" y="433846"/>
                    <a:pt x="910981" y="416635"/>
                    <a:pt x="915290" y="393290"/>
                  </a:cubicBezTo>
                  <a:lnTo>
                    <a:pt x="931846" y="289817"/>
                  </a:lnTo>
                  <a:cubicBezTo>
                    <a:pt x="934139" y="277555"/>
                    <a:pt x="929849" y="264986"/>
                    <a:pt x="920536" y="256685"/>
                  </a:cubicBezTo>
                  <a:close/>
                  <a:moveTo>
                    <a:pt x="668249" y="58835"/>
                  </a:moveTo>
                  <a:lnTo>
                    <a:pt x="664420" y="82778"/>
                  </a:lnTo>
                  <a:lnTo>
                    <a:pt x="664596" y="82778"/>
                  </a:lnTo>
                  <a:lnTo>
                    <a:pt x="636659" y="258113"/>
                  </a:lnTo>
                  <a:lnTo>
                    <a:pt x="161025" y="258113"/>
                  </a:lnTo>
                  <a:lnTo>
                    <a:pt x="198916" y="20695"/>
                  </a:lnTo>
                  <a:lnTo>
                    <a:pt x="674354" y="20695"/>
                  </a:lnTo>
                  <a:close/>
                  <a:moveTo>
                    <a:pt x="727901" y="206397"/>
                  </a:moveTo>
                  <a:lnTo>
                    <a:pt x="747633" y="82778"/>
                  </a:lnTo>
                  <a:lnTo>
                    <a:pt x="781883" y="82778"/>
                  </a:lnTo>
                  <a:cubicBezTo>
                    <a:pt x="806751" y="81952"/>
                    <a:pt x="828192" y="100121"/>
                    <a:pt x="831457" y="124788"/>
                  </a:cubicBezTo>
                  <a:lnTo>
                    <a:pt x="840707" y="195843"/>
                  </a:lnTo>
                  <a:cubicBezTo>
                    <a:pt x="841057" y="199413"/>
                    <a:pt x="841750" y="202940"/>
                    <a:pt x="842777" y="206377"/>
                  </a:cubicBezTo>
                  <a:close/>
                </a:path>
              </a:pathLst>
            </a:custGeom>
            <a:grpFill/>
            <a:ln w="12700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9C79B1B-BD88-4AE6-A4CF-80C88B46CE5B}"/>
                </a:ext>
              </a:extLst>
            </p:cNvPr>
            <p:cNvSpPr/>
            <p:nvPr/>
          </p:nvSpPr>
          <p:spPr>
            <a:xfrm>
              <a:off x="1343613" y="5745583"/>
              <a:ext cx="167689" cy="165631"/>
            </a:xfrm>
            <a:custGeom>
              <a:avLst/>
              <a:gdLst>
                <a:gd name="connsiteX0" fmla="*/ 95426 w 167689"/>
                <a:gd name="connsiteY0" fmla="*/ 16 h 165631"/>
                <a:gd name="connsiteX1" fmla="*/ 1214 w 167689"/>
                <a:gd name="connsiteY1" fmla="*/ 81180 h 165631"/>
                <a:gd name="connsiteX2" fmla="*/ 16880 w 167689"/>
                <a:gd name="connsiteY2" fmla="*/ 141091 h 165631"/>
                <a:gd name="connsiteX3" fmla="*/ 72310 w 167689"/>
                <a:gd name="connsiteY3" fmla="*/ 165614 h 165631"/>
                <a:gd name="connsiteX4" fmla="*/ 166470 w 167689"/>
                <a:gd name="connsiteY4" fmla="*/ 84440 h 165631"/>
                <a:gd name="connsiteX5" fmla="*/ 150805 w 167689"/>
                <a:gd name="connsiteY5" fmla="*/ 24539 h 165631"/>
                <a:gd name="connsiteX6" fmla="*/ 95426 w 167689"/>
                <a:gd name="connsiteY6" fmla="*/ 16 h 165631"/>
                <a:gd name="connsiteX7" fmla="*/ 146076 w 167689"/>
                <a:gd name="connsiteY7" fmla="*/ 81180 h 165631"/>
                <a:gd name="connsiteX8" fmla="*/ 146076 w 167689"/>
                <a:gd name="connsiteY8" fmla="*/ 81180 h 165631"/>
                <a:gd name="connsiteX9" fmla="*/ 72310 w 167689"/>
                <a:gd name="connsiteY9" fmla="*/ 144919 h 165631"/>
                <a:gd name="connsiteX10" fmla="*/ 32628 w 167689"/>
                <a:gd name="connsiteY10" fmla="*/ 127660 h 165631"/>
                <a:gd name="connsiteX11" fmla="*/ 21639 w 167689"/>
                <a:gd name="connsiteY11" fmla="*/ 84450 h 165631"/>
                <a:gd name="connsiteX12" fmla="*/ 95416 w 167689"/>
                <a:gd name="connsiteY12" fmla="*/ 20711 h 165631"/>
                <a:gd name="connsiteX13" fmla="*/ 135097 w 167689"/>
                <a:gd name="connsiteY13" fmla="*/ 37970 h 165631"/>
                <a:gd name="connsiteX14" fmla="*/ 146076 w 167689"/>
                <a:gd name="connsiteY14" fmla="*/ 81180 h 165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7689" h="165631">
                  <a:moveTo>
                    <a:pt x="95426" y="16"/>
                  </a:moveTo>
                  <a:cubicBezTo>
                    <a:pt x="48843" y="1553"/>
                    <a:pt x="9626" y="35339"/>
                    <a:pt x="1214" y="81180"/>
                  </a:cubicBezTo>
                  <a:cubicBezTo>
                    <a:pt x="-2721" y="102486"/>
                    <a:pt x="3018" y="124439"/>
                    <a:pt x="16880" y="141091"/>
                  </a:cubicBezTo>
                  <a:cubicBezTo>
                    <a:pt x="30798" y="157092"/>
                    <a:pt x="51108" y="166078"/>
                    <a:pt x="72310" y="165614"/>
                  </a:cubicBezTo>
                  <a:cubicBezTo>
                    <a:pt x="118882" y="164068"/>
                    <a:pt x="158081" y="130275"/>
                    <a:pt x="166470" y="84440"/>
                  </a:cubicBezTo>
                  <a:cubicBezTo>
                    <a:pt x="170416" y="63137"/>
                    <a:pt x="164674" y="41183"/>
                    <a:pt x="150805" y="24539"/>
                  </a:cubicBezTo>
                  <a:cubicBezTo>
                    <a:pt x="136899" y="8553"/>
                    <a:pt x="116610" y="-432"/>
                    <a:pt x="95426" y="16"/>
                  </a:cubicBezTo>
                  <a:close/>
                  <a:moveTo>
                    <a:pt x="146076" y="81180"/>
                  </a:moveTo>
                  <a:lnTo>
                    <a:pt x="146076" y="81180"/>
                  </a:lnTo>
                  <a:cubicBezTo>
                    <a:pt x="139541" y="117133"/>
                    <a:pt x="108830" y="143668"/>
                    <a:pt x="72310" y="144919"/>
                  </a:cubicBezTo>
                  <a:cubicBezTo>
                    <a:pt x="57176" y="145346"/>
                    <a:pt x="42636" y="139022"/>
                    <a:pt x="32628" y="127660"/>
                  </a:cubicBezTo>
                  <a:cubicBezTo>
                    <a:pt x="22733" y="115602"/>
                    <a:pt x="18707" y="99770"/>
                    <a:pt x="21639" y="84450"/>
                  </a:cubicBezTo>
                  <a:cubicBezTo>
                    <a:pt x="28179" y="48496"/>
                    <a:pt x="58893" y="21961"/>
                    <a:pt x="95416" y="20711"/>
                  </a:cubicBezTo>
                  <a:cubicBezTo>
                    <a:pt x="110550" y="20284"/>
                    <a:pt x="125090" y="26609"/>
                    <a:pt x="135097" y="37970"/>
                  </a:cubicBezTo>
                  <a:cubicBezTo>
                    <a:pt x="144984" y="50033"/>
                    <a:pt x="149005" y="65861"/>
                    <a:pt x="146076" y="81180"/>
                  </a:cubicBezTo>
                  <a:close/>
                </a:path>
              </a:pathLst>
            </a:custGeom>
            <a:grpFill/>
            <a:ln w="12700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5E4121B-2E62-4CE1-A503-694A1919EA0C}"/>
              </a:ext>
            </a:extLst>
          </p:cNvPr>
          <p:cNvSpPr txBox="1"/>
          <p:nvPr/>
        </p:nvSpPr>
        <p:spPr>
          <a:xfrm>
            <a:off x="1214631" y="5014786"/>
            <a:ext cx="4857388" cy="13597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b="1">
                <a:latin typeface="Segoe UI Emoji" panose="020B0502040204020203" pitchFamily="34" charset="0"/>
                <a:ea typeface="Segoe UI Emoji" panose="020B0502040204020203" pitchFamily="34" charset="0"/>
              </a:rPr>
              <a:t>Augmenter le délai de livraison</a:t>
            </a:r>
          </a:p>
          <a:p>
            <a:pPr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</a:rPr>
              <a:t>Passer le temps de livraison de 1j à 2j : </a:t>
            </a:r>
          </a:p>
          <a:p>
            <a:pPr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</a:rPr>
              <a:t>Avoir un plus gros stock disponible </a:t>
            </a: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  <a:sym typeface="Wingdings" panose="05000000000000000000" pitchFamily="2" charset="2"/>
              </a:rPr>
              <a:t> Mieux allouer nos colis aux différents camions </a:t>
            </a:r>
          </a:p>
          <a:p>
            <a:pPr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  <a:sym typeface="Wingdings" panose="05000000000000000000" pitchFamily="2" charset="2"/>
              </a:rPr>
              <a:t>Cela devra entraîner certainement un changement de </a:t>
            </a:r>
            <a:r>
              <a:rPr lang="fr-FR" sz="1400" err="1">
                <a:latin typeface="Segoe UI Emoji" panose="020B0502040204020203" pitchFamily="34" charset="0"/>
                <a:ea typeface="Segoe UI Emoji" panose="020B0502040204020203" pitchFamily="34" charset="0"/>
                <a:sym typeface="Wingdings" panose="05000000000000000000" pitchFamily="2" charset="2"/>
              </a:rPr>
              <a:t>pricing</a:t>
            </a:r>
            <a:endParaRPr lang="fr-FR" sz="1400">
              <a:latin typeface="Segoe UI Emoji" panose="020B0502040204020203" pitchFamily="34" charset="0"/>
              <a:ea typeface="Segoe UI Emoji" panose="020B0502040204020203" pitchFamily="34" charset="0"/>
              <a:sym typeface="Wingdings" panose="05000000000000000000" pitchFamily="2" charset="2"/>
            </a:endParaRP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14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7BB5321-FD30-49EE-B052-3EA376F1F482}"/>
              </a:ext>
            </a:extLst>
          </p:cNvPr>
          <p:cNvSpPr txBox="1"/>
          <p:nvPr/>
        </p:nvSpPr>
        <p:spPr>
          <a:xfrm>
            <a:off x="7070403" y="1380087"/>
            <a:ext cx="3501622" cy="171330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9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9F59E11-539F-43BA-8F37-FCAA55DAFA53}"/>
              </a:ext>
            </a:extLst>
          </p:cNvPr>
          <p:cNvSpPr txBox="1"/>
          <p:nvPr/>
        </p:nvSpPr>
        <p:spPr>
          <a:xfrm>
            <a:off x="6689568" y="1341175"/>
            <a:ext cx="4947696" cy="118445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b="1" dirty="0">
                <a:latin typeface="Segoe UI Emoji" panose="020B0502040204020203" pitchFamily="34" charset="0"/>
                <a:ea typeface="Segoe UI Emoji" panose="020B0502040204020203" pitchFamily="34" charset="0"/>
              </a:rPr>
              <a:t>Résultats</a:t>
            </a:r>
            <a:endParaRPr lang="fr-FR" sz="1400" b="1" dirty="0">
              <a:latin typeface="Segoe UI Emoji" panose="020B0502040204020203" pitchFamily="34" charset="0"/>
              <a:ea typeface="Segoe UI Emoji" panose="020B0502040204020203" pitchFamily="34" charset="0"/>
            </a:endParaRPr>
          </a:p>
          <a:p>
            <a:pPr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400" dirty="0">
                <a:latin typeface="Segoe UI Emoji" panose="020B0502040204020203" pitchFamily="34" charset="0"/>
                <a:ea typeface="Segoe UI Emoji" panose="020B0502040204020203" pitchFamily="34" charset="0"/>
              </a:rPr>
              <a:t>Diminution du nombre de trajets et des temps de trajet et un meilleur taux de remplissage</a:t>
            </a:r>
          </a:p>
          <a:p>
            <a:pPr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400" dirty="0">
                <a:latin typeface="Segoe UI Emoji" panose="020B0502040204020203" pitchFamily="34" charset="0"/>
                <a:ea typeface="Segoe UI Emoji" panose="020B0502040204020203" pitchFamily="34" charset="0"/>
                <a:sym typeface="Wingdings" panose="05000000000000000000" pitchFamily="2" charset="2"/>
              </a:rPr>
              <a:t>        </a:t>
            </a:r>
            <a:r>
              <a:rPr lang="fr-FR" sz="1400" dirty="0">
                <a:latin typeface="Segoe UI Emoji" panose="020B0502040204020203" pitchFamily="34" charset="0"/>
                <a:ea typeface="Segoe UI Emoji" panose="020B0502040204020203" pitchFamily="34" charset="0"/>
              </a:rPr>
              <a:t>Une réduction </a:t>
            </a: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</a:rPr>
              <a:t>de </a:t>
            </a:r>
            <a:r>
              <a:rPr lang="fr-FR" b="1" dirty="0">
                <a:solidFill>
                  <a:srgbClr val="00B050"/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40%</a:t>
            </a: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</a:rPr>
              <a:t> de la consommation de CO</a:t>
            </a:r>
            <a:r>
              <a:rPr lang="fr-FR" sz="1400" baseline="-25000">
                <a:latin typeface="Segoe UI Emoji" panose="020B0502040204020203" pitchFamily="34" charset="0"/>
                <a:ea typeface="Segoe UI Emoji" panose="020B0502040204020203" pitchFamily="34" charset="0"/>
              </a:rPr>
              <a:t>2</a:t>
            </a:r>
            <a:endParaRPr lang="fr-FR" sz="1100" dirty="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pic>
        <p:nvPicPr>
          <p:cNvPr id="70" name="Picture 69" descr="Shape&#10;&#10;Description automatically generated with low confidence">
            <a:extLst>
              <a:ext uri="{FF2B5EF4-FFF2-40B4-BE49-F238E27FC236}">
                <a16:creationId xmlns:a16="http://schemas.microsoft.com/office/drawing/2014/main" id="{654F70F6-C124-4558-9F66-08FACED6CF66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38194" y="5443077"/>
            <a:ext cx="777959" cy="704314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D991BAB3-FE9C-490B-8E42-793B99808740}"/>
              </a:ext>
            </a:extLst>
          </p:cNvPr>
          <p:cNvSpPr txBox="1"/>
          <p:nvPr/>
        </p:nvSpPr>
        <p:spPr>
          <a:xfrm>
            <a:off x="7733176" y="5469793"/>
            <a:ext cx="3904088" cy="89628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indent="-1714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</a:rPr>
              <a:t>Une réduction de coût lié à la baisse de kilomètre</a:t>
            </a:r>
          </a:p>
          <a:p>
            <a:pPr marL="171450" indent="-1714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</a:rPr>
              <a:t>Une potentielle diminution  des revenus lié au changement de </a:t>
            </a:r>
            <a:r>
              <a:rPr lang="fr-FR" sz="1400" err="1">
                <a:latin typeface="Segoe UI Emoji" panose="020B0502040204020203" pitchFamily="34" charset="0"/>
                <a:ea typeface="Segoe UI Emoji" panose="020B0502040204020203" pitchFamily="34" charset="0"/>
              </a:rPr>
              <a:t>pricing</a:t>
            </a:r>
            <a:endParaRPr lang="fr-FR" sz="14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112A623-C87A-324A-ACA2-3C92115D2AB7}"/>
              </a:ext>
            </a:extLst>
          </p:cNvPr>
          <p:cNvSpPr txBox="1"/>
          <p:nvPr/>
        </p:nvSpPr>
        <p:spPr>
          <a:xfrm>
            <a:off x="423746" y="13716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9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05C5C98-538D-4FD7-B257-FEC40659AEF1}"/>
              </a:ext>
            </a:extLst>
          </p:cNvPr>
          <p:cNvGrpSpPr/>
          <p:nvPr/>
        </p:nvGrpSpPr>
        <p:grpSpPr>
          <a:xfrm>
            <a:off x="6698076" y="2107312"/>
            <a:ext cx="5078112" cy="3191063"/>
            <a:chOff x="7303726" y="2071601"/>
            <a:chExt cx="4249321" cy="3404226"/>
          </a:xfrm>
        </p:grpSpPr>
        <mc:AlternateContent xmlns:mc="http://schemas.openxmlformats.org/markup-compatibility/2006">
          <mc:Choice xmlns:cx1="http://schemas.microsoft.com/office/drawing/2015/9/8/chartex" Requires="cx1">
            <p:graphicFrame>
              <p:nvGraphicFramePr>
                <p:cNvPr id="93" name="Chart 92">
                  <a:extLst>
                    <a:ext uri="{FF2B5EF4-FFF2-40B4-BE49-F238E27FC236}">
                      <a16:creationId xmlns:a16="http://schemas.microsoft.com/office/drawing/2014/main" id="{83FCF394-067B-4F3B-B111-7F77BF98AE2B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691063610"/>
                    </p:ext>
                  </p:extLst>
                </p:nvPr>
              </p:nvGraphicFramePr>
              <p:xfrm>
                <a:off x="7303726" y="2071601"/>
                <a:ext cx="4249321" cy="3150810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13"/>
                </a:graphicData>
              </a:graphic>
            </p:graphicFrame>
          </mc:Choice>
          <mc:Fallback>
            <p:pic>
              <p:nvPicPr>
                <p:cNvPr id="93" name="Chart 92">
                  <a:extLst>
                    <a:ext uri="{FF2B5EF4-FFF2-40B4-BE49-F238E27FC236}">
                      <a16:creationId xmlns:a16="http://schemas.microsoft.com/office/drawing/2014/main" id="{83FCF394-067B-4F3B-B111-7F77BF98AE2B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6698076" y="2107312"/>
                  <a:ext cx="5078112" cy="2953515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6F7BA9C-A784-440C-B553-46F433BFE998}"/>
                </a:ext>
              </a:extLst>
            </p:cNvPr>
            <p:cNvGrpSpPr/>
            <p:nvPr/>
          </p:nvGrpSpPr>
          <p:grpSpPr>
            <a:xfrm>
              <a:off x="7436688" y="2662735"/>
              <a:ext cx="3987800" cy="2813092"/>
              <a:chOff x="7426960" y="2273631"/>
              <a:chExt cx="3987800" cy="2813092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CAE3D0C9-65D6-4465-B211-90018206EDAE}"/>
                  </a:ext>
                </a:extLst>
              </p:cNvPr>
              <p:cNvGrpSpPr/>
              <p:nvPr/>
            </p:nvGrpSpPr>
            <p:grpSpPr>
              <a:xfrm>
                <a:off x="7426960" y="2273631"/>
                <a:ext cx="3987800" cy="2813092"/>
                <a:chOff x="7426960" y="2293092"/>
                <a:chExt cx="3987800" cy="2813092"/>
              </a:xfrm>
            </p:grpSpPr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849392E1-9500-445A-A42B-B0171F209D91}"/>
                    </a:ext>
                  </a:extLst>
                </p:cNvPr>
                <p:cNvGrpSpPr/>
                <p:nvPr/>
              </p:nvGrpSpPr>
              <p:grpSpPr>
                <a:xfrm>
                  <a:off x="7426960" y="2293092"/>
                  <a:ext cx="3987800" cy="2481064"/>
                  <a:chOff x="7426960" y="2293092"/>
                  <a:chExt cx="3987800" cy="2481064"/>
                </a:xfrm>
              </p:grpSpPr>
              <p:grpSp>
                <p:nvGrpSpPr>
                  <p:cNvPr id="48" name="Group 47">
                    <a:extLst>
                      <a:ext uri="{FF2B5EF4-FFF2-40B4-BE49-F238E27FC236}">
                        <a16:creationId xmlns:a16="http://schemas.microsoft.com/office/drawing/2014/main" id="{9DEA06F4-4B1F-45B2-B66E-78342E5D7DE5}"/>
                      </a:ext>
                    </a:extLst>
                  </p:cNvPr>
                  <p:cNvGrpSpPr/>
                  <p:nvPr/>
                </p:nvGrpSpPr>
                <p:grpSpPr>
                  <a:xfrm>
                    <a:off x="7500840" y="2293092"/>
                    <a:ext cx="3784260" cy="1182945"/>
                    <a:chOff x="2783515" y="2592787"/>
                    <a:chExt cx="7431346" cy="1708340"/>
                  </a:xfrm>
                </p:grpSpPr>
                <p:sp>
                  <p:nvSpPr>
                    <p:cNvPr id="50" name="TextBox 49">
                      <a:extLst>
                        <a:ext uri="{FF2B5EF4-FFF2-40B4-BE49-F238E27FC236}">
                          <a16:creationId xmlns:a16="http://schemas.microsoft.com/office/drawing/2014/main" id="{B163E2FE-F0C7-4609-A370-48F5804A072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783515" y="2592787"/>
                      <a:ext cx="1104137" cy="187529"/>
                    </a:xfrm>
                    <a:prstGeom prst="rect">
                      <a:avLst/>
                    </a:prstGeom>
                    <a:ln w="6350">
                      <a:noFill/>
                      <a:miter lim="800000"/>
                    </a:ln>
                  </p:spPr>
                  <p:txBody>
                    <a:bodyPr vert="horz" wrap="square" lIns="0" tIns="0" rIns="0" bIns="0" rtlCol="0">
                      <a:noAutofit/>
                    </a:bodyPr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fr-FR" sz="1400" b="1">
                          <a:solidFill>
                            <a:schemeClr val="bg1"/>
                          </a:solidFill>
                          <a:latin typeface="Segoe UI Emoji" panose="020B0502040204020203" pitchFamily="34" charset="0"/>
                          <a:ea typeface="Segoe UI Emoji" panose="020B0502040204020203" pitchFamily="34" charset="0"/>
                        </a:rPr>
                        <a:t>100 %</a:t>
                      </a:r>
                      <a:endParaRPr lang="fr-FR" sz="700" b="1">
                        <a:solidFill>
                          <a:schemeClr val="bg1"/>
                        </a:solidFill>
                        <a:latin typeface="Segoe UI Emoji" panose="020B0502040204020203" pitchFamily="34" charset="0"/>
                        <a:ea typeface="Segoe UI Emoji" panose="020B0502040204020203" pitchFamily="34" charset="0"/>
                      </a:endParaRPr>
                    </a:p>
                  </p:txBody>
                </p:sp>
                <p:sp>
                  <p:nvSpPr>
                    <p:cNvPr id="51" name="TextBox 50">
                      <a:extLst>
                        <a:ext uri="{FF2B5EF4-FFF2-40B4-BE49-F238E27FC236}">
                          <a16:creationId xmlns:a16="http://schemas.microsoft.com/office/drawing/2014/main" id="{10E7A317-0CCC-429D-94AD-4730CF7E17E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319916" y="4024128"/>
                      <a:ext cx="894945" cy="276999"/>
                    </a:xfrm>
                    <a:prstGeom prst="rect">
                      <a:avLst/>
                    </a:prstGeom>
                    <a:ln w="6350">
                      <a:noFill/>
                      <a:miter lim="800000"/>
                    </a:ln>
                  </p:spPr>
                  <p:txBody>
                    <a:bodyPr vert="horz" wrap="square" lIns="0" tIns="0" rIns="0" bIns="0" rtlCol="0">
                      <a:noAutofit/>
                    </a:bodyPr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fr-FR" sz="1400" b="1">
                          <a:solidFill>
                            <a:schemeClr val="bg1"/>
                          </a:solidFill>
                          <a:latin typeface="Segoe UI Emoji" panose="020B0502040204020203" pitchFamily="34" charset="0"/>
                          <a:ea typeface="Segoe UI Emoji" panose="020B0502040204020203" pitchFamily="34" charset="0"/>
                        </a:rPr>
                        <a:t>57 %</a:t>
                      </a:r>
                      <a:endParaRPr lang="fr-FR" sz="700" b="1">
                        <a:solidFill>
                          <a:schemeClr val="bg1"/>
                        </a:solidFill>
                        <a:latin typeface="Segoe UI Emoji" panose="020B0502040204020203" pitchFamily="34" charset="0"/>
                        <a:ea typeface="Segoe UI Emoji" panose="020B0502040204020203" pitchFamily="34" charset="0"/>
                      </a:endParaRPr>
                    </a:p>
                  </p:txBody>
                </p:sp>
                <p:sp>
                  <p:nvSpPr>
                    <p:cNvPr id="52" name="TextBox 51">
                      <a:extLst>
                        <a:ext uri="{FF2B5EF4-FFF2-40B4-BE49-F238E27FC236}">
                          <a16:creationId xmlns:a16="http://schemas.microsoft.com/office/drawing/2014/main" id="{5F5E4160-10F3-44C5-82CB-EF4882FC43D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497666" y="2925973"/>
                      <a:ext cx="894945" cy="276999"/>
                    </a:xfrm>
                    <a:prstGeom prst="rect">
                      <a:avLst/>
                    </a:prstGeom>
                    <a:ln w="6350">
                      <a:noFill/>
                      <a:miter lim="800000"/>
                    </a:ln>
                  </p:spPr>
                  <p:txBody>
                    <a:bodyPr vert="horz" wrap="square" lIns="0" tIns="0" rIns="0" bIns="0" rtlCol="0">
                      <a:noAutofit/>
                    </a:bodyPr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fr-FR" sz="1400" b="1">
                          <a:latin typeface="Segoe UI Emoji" panose="020B0502040204020203" pitchFamily="34" charset="0"/>
                          <a:ea typeface="Segoe UI Emoji" panose="020B0502040204020203" pitchFamily="34" charset="0"/>
                        </a:rPr>
                        <a:t>10 %</a:t>
                      </a:r>
                      <a:endParaRPr lang="fr-FR" sz="700" b="1">
                        <a:latin typeface="Segoe UI Emoji" panose="020B0502040204020203" pitchFamily="34" charset="0"/>
                        <a:ea typeface="Segoe UI Emoji" panose="020B0502040204020203" pitchFamily="34" charset="0"/>
                      </a:endParaRPr>
                    </a:p>
                  </p:txBody>
                </p:sp>
              </p:grpSp>
              <p:cxnSp>
                <p:nvCxnSpPr>
                  <p:cNvPr id="55" name="LineContentSeparatorDefault 192">
                    <a:extLst>
                      <a:ext uri="{FF2B5EF4-FFF2-40B4-BE49-F238E27FC236}">
                        <a16:creationId xmlns:a16="http://schemas.microsoft.com/office/drawing/2014/main" id="{A92B99C5-29C9-480C-AA10-4142B4FD7F13}"/>
                      </a:ext>
                    </a:extLst>
                  </p:cNvPr>
                  <p:cNvCxnSpPr>
                    <a:cxnSpLocks/>
                  </p:cNvCxnSpPr>
                  <p:nvPr>
                    <p:custDataLst>
                      <p:tags r:id="rId3"/>
                    </p:custDataLst>
                  </p:nvPr>
                </p:nvCxnSpPr>
                <p:spPr bwMode="gray">
                  <a:xfrm>
                    <a:off x="7426960" y="4774156"/>
                    <a:ext cx="3987800" cy="0"/>
                  </a:xfrm>
                  <a:prstGeom prst="straightConnector1">
                    <a:avLst/>
                  </a:prstGeom>
                  <a:ln w="6350" cap="flat">
                    <a:solidFill>
                      <a:srgbClr val="B3B3B3"/>
                    </a:solidFill>
                    <a:miter lim="800000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FF04F2A1-7554-4664-A7AB-53F4C0EC847C}"/>
                    </a:ext>
                  </a:extLst>
                </p:cNvPr>
                <p:cNvSpPr txBox="1"/>
                <p:nvPr/>
              </p:nvSpPr>
              <p:spPr>
                <a:xfrm>
                  <a:off x="7441836" y="4820191"/>
                  <a:ext cx="674817" cy="285993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Emission</a:t>
                  </a:r>
                  <a:b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</a:br>
                  <a: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totale</a:t>
                  </a:r>
                </a:p>
              </p:txBody>
            </p:sp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83D03ACA-4068-4429-B696-A93959CE3E41}"/>
                    </a:ext>
                  </a:extLst>
                </p:cNvPr>
                <p:cNvSpPr txBox="1"/>
                <p:nvPr/>
              </p:nvSpPr>
              <p:spPr>
                <a:xfrm>
                  <a:off x="8258680" y="4820191"/>
                  <a:ext cx="674817" cy="285993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Optimisation</a:t>
                  </a:r>
                  <a:b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</a:br>
                  <a: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itinéraires</a:t>
                  </a: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7882A041-D49C-4A4A-827A-84D77E2EF224}"/>
                    </a:ext>
                  </a:extLst>
                </p:cNvPr>
                <p:cNvSpPr txBox="1"/>
                <p:nvPr/>
              </p:nvSpPr>
              <p:spPr>
                <a:xfrm>
                  <a:off x="9056573" y="4820191"/>
                  <a:ext cx="674817" cy="285993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Optimisation</a:t>
                  </a:r>
                  <a:b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</a:br>
                  <a: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trajets</a:t>
                  </a:r>
                </a:p>
              </p:txBody>
            </p:sp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03C6C381-BD34-4F0C-8529-A39214C9A3AE}"/>
                    </a:ext>
                  </a:extLst>
                </p:cNvPr>
                <p:cNvSpPr txBox="1"/>
                <p:nvPr/>
              </p:nvSpPr>
              <p:spPr>
                <a:xfrm>
                  <a:off x="9863459" y="4820191"/>
                  <a:ext cx="781799" cy="285993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Augmentation</a:t>
                  </a:r>
                  <a:b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</a:br>
                  <a: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délai</a:t>
                  </a:r>
                </a:p>
              </p:txBody>
            </p:sp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AE6A3607-3CED-4CC0-BDFB-4DFE29433E99}"/>
                    </a:ext>
                  </a:extLst>
                </p:cNvPr>
                <p:cNvSpPr txBox="1"/>
                <p:nvPr/>
              </p:nvSpPr>
              <p:spPr>
                <a:xfrm>
                  <a:off x="10722737" y="4820191"/>
                  <a:ext cx="674817" cy="285993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Emission</a:t>
                  </a:r>
                  <a:b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</a:br>
                  <a:r>
                    <a:rPr lang="fr-FR" sz="90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restante</a:t>
                  </a:r>
                </a:p>
              </p:txBody>
            </p:sp>
          </p:grp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9D753FF8-0369-4D87-9D8E-B4E0020388DB}"/>
                  </a:ext>
                </a:extLst>
              </p:cNvPr>
              <p:cNvSpPr txBox="1"/>
              <p:nvPr/>
            </p:nvSpPr>
            <p:spPr>
              <a:xfrm>
                <a:off x="9190314" y="3203956"/>
                <a:ext cx="455732" cy="191809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fr-FR" sz="1400" b="1">
                    <a:latin typeface="Segoe UI Emoji" panose="020B0502040204020203" pitchFamily="34" charset="0"/>
                    <a:ea typeface="Segoe UI Emoji" panose="020B0502040204020203" pitchFamily="34" charset="0"/>
                  </a:rPr>
                  <a:t>28 %</a:t>
                </a:r>
                <a:endParaRPr lang="fr-FR" sz="700" b="1">
                  <a:latin typeface="Segoe UI Emoji" panose="020B0502040204020203" pitchFamily="34" charset="0"/>
                  <a:ea typeface="Segoe UI Emoji" panose="020B0502040204020203" pitchFamily="34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14215E75-DFC2-4154-BC98-6E93C2259237}"/>
                  </a:ext>
                </a:extLst>
              </p:cNvPr>
              <p:cNvSpPr txBox="1"/>
              <p:nvPr/>
            </p:nvSpPr>
            <p:spPr>
              <a:xfrm>
                <a:off x="10006759" y="3256080"/>
                <a:ext cx="455732" cy="191809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fr-FR" sz="1400" b="1">
                    <a:latin typeface="Segoe UI Emoji" panose="020B0502040204020203" pitchFamily="34" charset="0"/>
                    <a:ea typeface="Segoe UI Emoji" panose="020B0502040204020203" pitchFamily="34" charset="0"/>
                  </a:rPr>
                  <a:t>2 %</a:t>
                </a:r>
                <a:endParaRPr lang="fr-FR" sz="700" b="1">
                  <a:latin typeface="Segoe UI Emoji" panose="020B0502040204020203" pitchFamily="34" charset="0"/>
                  <a:ea typeface="Segoe UI Emoji" panose="020B0502040204020203" pitchFamily="34" charset="0"/>
                </a:endParaRPr>
              </a:p>
            </p:txBody>
          </p:sp>
        </p:grpSp>
      </p:grpSp>
      <p:pic>
        <p:nvPicPr>
          <p:cNvPr id="24" name="Graphic 23" descr="Arrow Right with solid fill">
            <a:extLst>
              <a:ext uri="{FF2B5EF4-FFF2-40B4-BE49-F238E27FC236}">
                <a16:creationId xmlns:a16="http://schemas.microsoft.com/office/drawing/2014/main" id="{824149A1-7860-47FE-9F16-2B9E870C343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714054" y="2188337"/>
            <a:ext cx="323401" cy="335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125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6BE81D-E633-0542-B9CD-B23FCB18D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Segoe UI Emoji"/>
                <a:ea typeface="Segoe UI Emoji"/>
              </a:rPr>
              <a:t>Solution Logistique | LPD pourrait réduire de 11% ses émissions d’ici 3 ans en transférant l’entrepôt de Clermont à Rennes</a:t>
            </a:r>
            <a:endParaRPr lang="fr-FR" dirty="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8460E81-D477-594C-921E-5473785ECD16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900">
                <a:latin typeface="Segoe UI Emoji" panose="020B0502040204020203" pitchFamily="34" charset="0"/>
                <a:ea typeface="Segoe UI Emoji" panose="020B0502040204020203" pitchFamily="34" charset="0"/>
              </a:rPr>
              <a:t>Source : Donnée client, Analyse CentraleSupélec, *comparable La Poste</a:t>
            </a: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FB30EA0B-3A6F-EC45-AA84-565FBC778F48}"/>
              </a:ext>
            </a:extLst>
          </p:cNvPr>
          <p:cNvSpPr txBox="1"/>
          <p:nvPr/>
        </p:nvSpPr>
        <p:spPr>
          <a:xfrm>
            <a:off x="554736" y="1199014"/>
            <a:ext cx="11082528" cy="46567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91CB580-4A3A-F54E-9775-02F343A4102C}"/>
              </a:ext>
            </a:extLst>
          </p:cNvPr>
          <p:cNvGrpSpPr/>
          <p:nvPr/>
        </p:nvGrpSpPr>
        <p:grpSpPr>
          <a:xfrm>
            <a:off x="5815254" y="1331447"/>
            <a:ext cx="561491" cy="4852436"/>
            <a:chOff x="6284989" y="1441006"/>
            <a:chExt cx="561491" cy="4852436"/>
          </a:xfrm>
        </p:grpSpPr>
        <p:grpSp>
          <p:nvGrpSpPr>
            <p:cNvPr id="15" name="ChevronBlue 25">
              <a:extLst>
                <a:ext uri="{FF2B5EF4-FFF2-40B4-BE49-F238E27FC236}">
                  <a16:creationId xmlns:a16="http://schemas.microsoft.com/office/drawing/2014/main" id="{CBAC3F6F-1DB1-0644-B881-031EDDBA1BF4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gray">
            <a:xfrm>
              <a:off x="6284989" y="3582819"/>
              <a:ext cx="561491" cy="568799"/>
              <a:chOff x="1097979" y="1066249"/>
              <a:chExt cx="232469" cy="232469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86DA5905-5CE4-2149-9B05-2C1B3B170636}"/>
                  </a:ext>
                </a:extLst>
              </p:cNvPr>
              <p:cNvSpPr/>
              <p:nvPr/>
            </p:nvSpPr>
            <p:spPr bwMode="gray">
              <a:xfrm>
                <a:off x="1108637" y="1087012"/>
                <a:ext cx="198113" cy="198856"/>
              </a:xfrm>
              <a:prstGeom prst="ellipse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Emoji" panose="020B0502040204020203" pitchFamily="34" charset="0"/>
                  <a:ea typeface="Segoe UI Emoji" panose="020B0502040204020203" pitchFamily="34" charset="0"/>
                </a:endParaRPr>
              </a:p>
            </p:txBody>
          </p:sp>
          <p:pic>
            <p:nvPicPr>
              <p:cNvPr id="19" name="Graphic 18">
                <a:extLst>
                  <a:ext uri="{FF2B5EF4-FFF2-40B4-BE49-F238E27FC236}">
                    <a16:creationId xmlns:a16="http://schemas.microsoft.com/office/drawing/2014/main" id="{9D1AB457-BD64-C445-BC76-66CAAD019E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 bwMode="gray">
              <a:xfrm>
                <a:off x="1097979" y="1066249"/>
                <a:ext cx="232469" cy="232469"/>
              </a:xfrm>
              <a:prstGeom prst="rect">
                <a:avLst/>
              </a:prstGeom>
            </p:spPr>
          </p:pic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F4AA450-EDB1-5C4F-9219-73873840C30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551239" y="1441006"/>
              <a:ext cx="618" cy="1980000"/>
            </a:xfrm>
            <a:prstGeom prst="line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F2947A7-0468-7044-9834-A2553390D65E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6550603" y="4313442"/>
              <a:ext cx="15132" cy="1980000"/>
            </a:xfrm>
            <a:prstGeom prst="line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78FC982-BAA0-5640-8B2A-82B3B3260FC6}"/>
              </a:ext>
            </a:extLst>
          </p:cNvPr>
          <p:cNvGrpSpPr/>
          <p:nvPr/>
        </p:nvGrpSpPr>
        <p:grpSpPr>
          <a:xfrm>
            <a:off x="6673069" y="1429269"/>
            <a:ext cx="4964195" cy="1447745"/>
            <a:chOff x="6673069" y="1429269"/>
            <a:chExt cx="4964195" cy="1447745"/>
          </a:xfrm>
        </p:grpSpPr>
        <p:pic>
          <p:nvPicPr>
            <p:cNvPr id="23" name="Picture 22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067286D8-0387-754B-9A3B-6750A905ED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l="17892" t="12558" r="16775" b="25529"/>
            <a:stretch/>
          </p:blipFill>
          <p:spPr>
            <a:xfrm>
              <a:off x="6673069" y="1592068"/>
              <a:ext cx="974666" cy="923655"/>
            </a:xfrm>
            <a:prstGeom prst="rect">
              <a:avLst/>
            </a:prstGeom>
          </p:spPr>
        </p:pic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FD96F0C4-721C-B441-BFD1-E35A17FF1F14}"/>
                    </a:ext>
                  </a:extLst>
                </p:cNvPr>
                <p:cNvSpPr txBox="1"/>
                <p:nvPr/>
              </p:nvSpPr>
              <p:spPr>
                <a:xfrm>
                  <a:off x="7703138" y="1429269"/>
                  <a:ext cx="3934126" cy="1447745"/>
                </a:xfrm>
                <a:prstGeom prst="rect">
                  <a:avLst/>
                </a:prstGeom>
                <a:ln w="6350">
                  <a:noFill/>
                  <a:miter lim="800000"/>
                </a:ln>
              </p:spPr>
              <p:txBody>
                <a:bodyPr vert="horz" wrap="square" lIns="0" tIns="0" rIns="0" bIns="0" rtlCol="0">
                  <a:noAutofit/>
                </a:bodyPr>
                <a:lstStyle/>
                <a:p>
                  <a:pPr algn="l">
                    <a:spcBef>
                      <a:spcPts val="300"/>
                    </a:spcBef>
                    <a:spcAft>
                      <a:spcPts val="300"/>
                    </a:spcAft>
                    <a:buNone/>
                  </a:pPr>
                  <a:r>
                    <a:rPr lang="en-GB" sz="2400" dirty="0">
                      <a:solidFill>
                        <a:srgbClr val="051C2C"/>
                      </a:solidFill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3 M€</a:t>
                  </a:r>
                  <a:r>
                    <a:rPr lang="en-GB" sz="2000" dirty="0">
                      <a:solidFill>
                        <a:srgbClr val="0A3655"/>
                      </a:solidFill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 </a:t>
                  </a:r>
                  <a:r>
                    <a:rPr lang="en-GB" sz="2000" dirty="0">
                      <a:ln w="6350" cap="flat">
                        <a:noFill/>
                        <a:miter lim="800000"/>
                      </a:ln>
                      <a:latin typeface="Segoe UI Emoji" panose="020B0502040204020203" pitchFamily="34" charset="0"/>
                      <a:ea typeface="Segoe UI Emoji" panose="020B0502040204020203" pitchFamily="34" charset="0"/>
                      <a:cs typeface="+mj-cs"/>
                    </a:rPr>
                    <a:t>investment net</a:t>
                  </a:r>
                </a:p>
                <a:p>
                  <a:pPr lvl="1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GB" dirty="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*3000€/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fr-FR" b="0" i="0" smtClean="0">
                              <a:latin typeface="Cambria Math" panose="02040503050406030204" pitchFamily="18" charset="0"/>
                            </a:rPr>
                            <m:t>m</m:t>
                          </m:r>
                        </m:e>
                        <m:sup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a14:m>
                  <a:r>
                    <a:rPr lang="en-GB" dirty="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 et 1250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fr-FR" i="1">
                              <a:latin typeface="Cambria Math" panose="02040503050406030204" pitchFamily="18" charset="0"/>
                              <a:ea typeface="Segoe UI Emoji" panose="020B0502040204020203" pitchFamily="34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fr-FR">
                              <a:latin typeface="Cambria Math" panose="02040503050406030204" pitchFamily="18" charset="0"/>
                              <a:ea typeface="Segoe UI Emoji" panose="020B0502040204020203" pitchFamily="34" charset="0"/>
                            </a:rPr>
                            <m:t>m</m:t>
                          </m:r>
                        </m:e>
                        <m:sup>
                          <m:r>
                            <a:rPr lang="fr-FR">
                              <a:latin typeface="Cambria Math" panose="02040503050406030204" pitchFamily="18" charset="0"/>
                              <a:ea typeface="Segoe UI Emoji" panose="020B0502040204020203" pitchFamily="34" charset="0"/>
                            </a:rPr>
                            <m:t>2</m:t>
                          </m:r>
                        </m:sup>
                      </m:sSup>
                    </m:oMath>
                  </a14:m>
                  <a:endParaRPr lang="en-GB" dirty="0">
                    <a:latin typeface="Segoe UI Emoji" panose="020B0502040204020203" pitchFamily="34" charset="0"/>
                    <a:ea typeface="Segoe UI Emoji" panose="020B0502040204020203" pitchFamily="34" charset="0"/>
                  </a:endParaRPr>
                </a:p>
                <a:p>
                  <a:pPr lvl="1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GB" dirty="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Clermont </a:t>
                  </a:r>
                  <a:r>
                    <a:rPr lang="en-GB" dirty="0" err="1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vendu</a:t>
                  </a:r>
                  <a:r>
                    <a:rPr lang="en-GB" dirty="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 </a:t>
                  </a:r>
                  <a:r>
                    <a:rPr lang="en-GB" dirty="0" err="1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moitié</a:t>
                  </a:r>
                  <a:r>
                    <a:rPr lang="en-GB" dirty="0">
                      <a:latin typeface="Segoe UI Emoji" panose="020B0502040204020203" pitchFamily="34" charset="0"/>
                      <a:ea typeface="Segoe UI Emoji" panose="020B0502040204020203" pitchFamily="34" charset="0"/>
                    </a:rPr>
                    <a:t> prix</a:t>
                  </a:r>
                </a:p>
                <a:p>
                  <a:pPr lvl="1">
                    <a:spcBef>
                      <a:spcPts val="300"/>
                    </a:spcBef>
                    <a:spcAft>
                      <a:spcPts val="300"/>
                    </a:spcAft>
                  </a:pPr>
                  <a:r>
                    <a:rPr lang="en-GB" dirty="0">
                      <a:latin typeface="Segoe UI Emoji" panose="020B0502040204020203" pitchFamily="34" charset="0"/>
                      <a:ea typeface="Segoe UI Emoji" panose="020B0502040204020203" pitchFamily="34" charset="0"/>
                      <a:sym typeface="Wingdings" pitchFamily="2" charset="2"/>
                    </a:rPr>
                    <a:t>Payback </a:t>
                  </a:r>
                  <a:r>
                    <a:rPr lang="en-GB" dirty="0" err="1">
                      <a:latin typeface="Segoe UI Emoji" panose="020B0502040204020203" pitchFamily="34" charset="0"/>
                      <a:ea typeface="Segoe UI Emoji" panose="020B0502040204020203" pitchFamily="34" charset="0"/>
                      <a:sym typeface="Wingdings" pitchFamily="2" charset="2"/>
                    </a:rPr>
                    <a:t>en</a:t>
                  </a:r>
                  <a:r>
                    <a:rPr lang="en-GB" dirty="0">
                      <a:latin typeface="Segoe UI Emoji" panose="020B0502040204020203" pitchFamily="34" charset="0"/>
                      <a:ea typeface="Segoe UI Emoji" panose="020B0502040204020203" pitchFamily="34" charset="0"/>
                      <a:sym typeface="Wingdings" pitchFamily="2" charset="2"/>
                    </a:rPr>
                    <a:t> 3 </a:t>
                  </a:r>
                  <a:r>
                    <a:rPr lang="en-GB" dirty="0" err="1">
                      <a:latin typeface="Segoe UI Emoji" panose="020B0502040204020203" pitchFamily="34" charset="0"/>
                      <a:ea typeface="Segoe UI Emoji" panose="020B0502040204020203" pitchFamily="34" charset="0"/>
                      <a:sym typeface="Wingdings" pitchFamily="2" charset="2"/>
                    </a:rPr>
                    <a:t>ans</a:t>
                  </a:r>
                  <a:endParaRPr lang="en-GB" dirty="0">
                    <a:latin typeface="Segoe UI Emoji" panose="020B0502040204020203" pitchFamily="34" charset="0"/>
                    <a:ea typeface="Segoe UI Emoji" panose="020B0502040204020203" pitchFamily="34" charset="0"/>
                  </a:endParaRPr>
                </a:p>
              </p:txBody>
            </p:sp>
          </mc:Choice>
          <mc:Fallback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FD96F0C4-721C-B441-BFD1-E35A17FF1F1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703138" y="1429269"/>
                  <a:ext cx="3934126" cy="1447745"/>
                </a:xfrm>
                <a:prstGeom prst="rect">
                  <a:avLst/>
                </a:prstGeom>
                <a:blipFill>
                  <a:blip r:embed="rId6"/>
                  <a:stretch>
                    <a:fillRect l="-4806" t="-5882" b="-7983"/>
                  </a:stretch>
                </a:blipFill>
                <a:ln w="6350">
                  <a:noFill/>
                  <a:miter lim="800000"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2914C40-9259-A74A-A396-F84170ED0147}"/>
              </a:ext>
            </a:extLst>
          </p:cNvPr>
          <p:cNvGrpSpPr/>
          <p:nvPr/>
        </p:nvGrpSpPr>
        <p:grpSpPr>
          <a:xfrm>
            <a:off x="6698575" y="5203611"/>
            <a:ext cx="5007950" cy="1045236"/>
            <a:chOff x="6698575" y="5203611"/>
            <a:chExt cx="5007950" cy="923655"/>
          </a:xfrm>
        </p:grpSpPr>
        <p:pic>
          <p:nvPicPr>
            <p:cNvPr id="27" name="Picture 26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EE347949-FC5A-EA4B-9646-F748DA3558D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698575" y="5203611"/>
              <a:ext cx="923655" cy="923655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E7A9075-DF9D-FB42-B3DA-9F499CFBA0D3}"/>
                </a:ext>
              </a:extLst>
            </p:cNvPr>
            <p:cNvSpPr txBox="1"/>
            <p:nvPr/>
          </p:nvSpPr>
          <p:spPr>
            <a:xfrm>
              <a:off x="7875585" y="5203611"/>
              <a:ext cx="3830940" cy="892097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GB" sz="2000" dirty="0">
                  <a:latin typeface="Segoe UI Emoji" panose="020B0502040204020203" pitchFamily="34" charset="0"/>
                  <a:ea typeface="Segoe UI Emoji" panose="020B0502040204020203" pitchFamily="34" charset="0"/>
                </a:rPr>
                <a:t>3 </a:t>
              </a:r>
              <a:r>
                <a:rPr lang="en-GB" sz="2000" dirty="0" err="1">
                  <a:latin typeface="Segoe UI Emoji" panose="020B0502040204020203" pitchFamily="34" charset="0"/>
                  <a:ea typeface="Segoe UI Emoji" panose="020B0502040204020203" pitchFamily="34" charset="0"/>
                </a:rPr>
                <a:t>ans</a:t>
              </a:r>
              <a:r>
                <a:rPr lang="en-GB" sz="2000" dirty="0">
                  <a:latin typeface="Segoe UI Emoji" panose="020B0502040204020203" pitchFamily="34" charset="0"/>
                  <a:ea typeface="Segoe UI Emoji" panose="020B0502040204020203" pitchFamily="34" charset="0"/>
                </a:rPr>
                <a:t> </a:t>
              </a:r>
              <a:r>
                <a:rPr lang="en-GB" sz="2000" dirty="0" err="1">
                  <a:latin typeface="Segoe UI Emoji" panose="020B0502040204020203" pitchFamily="34" charset="0"/>
                  <a:ea typeface="Segoe UI Emoji" panose="020B0502040204020203" pitchFamily="34" charset="0"/>
                </a:rPr>
                <a:t>d’implémentation</a:t>
              </a:r>
              <a:endParaRPr lang="en-GB" sz="2000" dirty="0"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  <a:p>
              <a:pPr marL="342900" indent="-342900" algn="l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dirty="0" err="1">
                  <a:latin typeface="Segoe UI Emoji" panose="020B0502040204020203" pitchFamily="34" charset="0"/>
                  <a:ea typeface="Segoe UI Emoji" panose="020B0502040204020203" pitchFamily="34" charset="0"/>
                </a:rPr>
                <a:t>Lancement</a:t>
              </a:r>
              <a:r>
                <a:rPr lang="en-GB" dirty="0">
                  <a:latin typeface="Segoe UI Emoji" panose="020B0502040204020203" pitchFamily="34" charset="0"/>
                  <a:ea typeface="Segoe UI Emoji" panose="020B0502040204020203" pitchFamily="34" charset="0"/>
                </a:rPr>
                <a:t> de </a:t>
              </a:r>
              <a:r>
                <a:rPr lang="en-GB" dirty="0" err="1">
                  <a:latin typeface="Segoe UI Emoji" panose="020B0502040204020203" pitchFamily="34" charset="0"/>
                  <a:ea typeface="Segoe UI Emoji" panose="020B0502040204020203" pitchFamily="34" charset="0"/>
                </a:rPr>
                <a:t>l’entrepôt</a:t>
              </a:r>
              <a:endParaRPr lang="en-GB" dirty="0"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  <a:p>
              <a:pPr marL="342900" indent="-342900" algn="l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dirty="0" err="1">
                  <a:latin typeface="Segoe UI Emoji" panose="020B0502040204020203" pitchFamily="34" charset="0"/>
                  <a:ea typeface="Segoe UI Emoji" panose="020B0502040204020203" pitchFamily="34" charset="0"/>
                </a:rPr>
                <a:t>Relocalisation</a:t>
              </a:r>
              <a:r>
                <a:rPr lang="en-GB" dirty="0">
                  <a:latin typeface="Segoe UI Emoji" panose="020B0502040204020203" pitchFamily="34" charset="0"/>
                  <a:ea typeface="Segoe UI Emoji" panose="020B0502040204020203" pitchFamily="34" charset="0"/>
                </a:rPr>
                <a:t> du personnel</a:t>
              </a:r>
            </a:p>
            <a:p>
              <a:pPr marL="800100" lvl="1" indent="-34290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endParaRPr lang="en-GB" sz="2000" dirty="0"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5DDFE6D-A4ED-6340-942B-D1FFA646B987}"/>
              </a:ext>
            </a:extLst>
          </p:cNvPr>
          <p:cNvGrpSpPr/>
          <p:nvPr/>
        </p:nvGrpSpPr>
        <p:grpSpPr>
          <a:xfrm>
            <a:off x="6549195" y="3560754"/>
            <a:ext cx="5226591" cy="830054"/>
            <a:chOff x="6549195" y="3560754"/>
            <a:chExt cx="5226591" cy="830054"/>
          </a:xfrm>
        </p:grpSpPr>
        <p:pic>
          <p:nvPicPr>
            <p:cNvPr id="33" name="Picture 32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B3B3127E-5591-134A-B4A2-03CB446052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t="9008" b="23090"/>
            <a:stretch/>
          </p:blipFill>
          <p:spPr>
            <a:xfrm>
              <a:off x="6549195" y="3560754"/>
              <a:ext cx="1222414" cy="830054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07B5F2A-4F52-B143-9831-6D750F1DFB83}"/>
                </a:ext>
              </a:extLst>
            </p:cNvPr>
            <p:cNvSpPr txBox="1"/>
            <p:nvPr/>
          </p:nvSpPr>
          <p:spPr>
            <a:xfrm>
              <a:off x="7944846" y="3721331"/>
              <a:ext cx="3830940" cy="48255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GB" sz="2400">
                  <a:solidFill>
                    <a:srgbClr val="051C2C"/>
                  </a:solidFill>
                  <a:latin typeface="Segoe UI Emoji" panose="020B0502040204020203" pitchFamily="34" charset="0"/>
                  <a:ea typeface="Segoe UI Emoji" panose="020B0502040204020203" pitchFamily="34" charset="0"/>
                </a:rPr>
                <a:t>11% CO2 </a:t>
              </a:r>
              <a:r>
                <a:rPr lang="en-GB" sz="2000" err="1">
                  <a:latin typeface="Segoe UI Emoji" panose="020B0502040204020203" pitchFamily="34" charset="0"/>
                  <a:ea typeface="Segoe UI Emoji" panose="020B0502040204020203" pitchFamily="34" charset="0"/>
                </a:rPr>
                <a:t>économisé</a:t>
              </a:r>
              <a:endParaRPr lang="en-GB" sz="2000">
                <a:latin typeface="Segoe UI Emoji" panose="020B0502040204020203" pitchFamily="34" charset="0"/>
                <a:ea typeface="Segoe UI Emoji" panose="020B0502040204020203" pitchFamily="34" charset="0"/>
              </a:endParaRPr>
            </a:p>
          </p:txBody>
        </p:sp>
      </p:grp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66F14BD5-98E4-7A4A-80C3-FDB6A44902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4735" y="1429269"/>
            <a:ext cx="4974648" cy="4656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6751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7B4D7B1E-63A2-4534-98AD-98D83524BF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004" y="2232908"/>
            <a:ext cx="3791145" cy="3606985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096BE81D-E633-0542-B9CD-B23FCB18D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latin typeface="Segoe UI Emoji"/>
                <a:ea typeface="Segoe UI Emoji"/>
              </a:rPr>
              <a:t>Solution Logistique | À long-terme, le passage à un fret mixte pourrait réduire les émissions d’au moins 4% supplémentaires 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CA742EB-D564-C548-B4D1-034E48C7DF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33ECE94-7D97-4447-9283-9E989B7463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8460E81-D477-594C-921E-5473785ECD16}"/>
              </a:ext>
            </a:extLst>
          </p:cNvPr>
          <p:cNvSpPr txBox="1"/>
          <p:nvPr/>
        </p:nvSpPr>
        <p:spPr>
          <a:xfrm>
            <a:off x="554736" y="6531429"/>
            <a:ext cx="1841863" cy="15435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900">
                <a:latin typeface="Segoe UI Emoji"/>
                <a:ea typeface="Segoe UI Emoji"/>
              </a:rPr>
              <a:t>Source : Donnée client, Analyse CentraleSupélec, </a:t>
            </a:r>
            <a:r>
              <a:rPr lang="fr-FR" sz="900" u="sng">
                <a:latin typeface="Segoe UI Emoji"/>
                <a:ea typeface="Segoe UI Emoji"/>
                <a:hlinkClick r:id="rId4"/>
              </a:rPr>
              <a:t>Comment </a:t>
            </a:r>
            <a:r>
              <a:rPr lang="fr-FR" sz="900" u="sng" err="1">
                <a:latin typeface="Segoe UI Emoji"/>
                <a:ea typeface="Segoe UI Emoji"/>
                <a:hlinkClick r:id="rId4"/>
              </a:rPr>
              <a:t>décarboner</a:t>
            </a:r>
            <a:r>
              <a:rPr lang="fr-FR" sz="900" u="sng">
                <a:latin typeface="Segoe UI Emoji"/>
                <a:ea typeface="Segoe UI Emoji"/>
                <a:hlinkClick r:id="rId4"/>
              </a:rPr>
              <a:t> le fret français d’ici 2050? </a:t>
            </a:r>
            <a:r>
              <a:rPr lang="fr-FR" sz="900">
                <a:latin typeface="Segoe UI Emoji"/>
                <a:ea typeface="Segoe UI Emoji"/>
                <a:hlinkClick r:id="rId4"/>
              </a:rPr>
              <a:t>- Transport Environnement</a:t>
            </a:r>
            <a:r>
              <a:rPr lang="fr-FR" sz="900">
                <a:latin typeface="Segoe UI Emoji"/>
                <a:ea typeface="Segoe UI Emoji"/>
              </a:rPr>
              <a:t>, </a:t>
            </a:r>
            <a:r>
              <a:rPr lang="fr-FR" sz="900">
                <a:latin typeface="Segoe UI Emoji"/>
                <a:ea typeface="Segoe UI Emoji"/>
                <a:hlinkClick r:id="rId5"/>
              </a:rPr>
              <a:t>IPCC</a:t>
            </a:r>
            <a:endParaRPr lang="fr-FR" sz="900">
              <a:latin typeface="Segoe UI Emoji"/>
              <a:ea typeface="Segoe UI Emoji"/>
            </a:endParaRP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FB30EA0B-3A6F-EC45-AA84-565FBC778F48}"/>
              </a:ext>
            </a:extLst>
          </p:cNvPr>
          <p:cNvSpPr txBox="1"/>
          <p:nvPr/>
        </p:nvSpPr>
        <p:spPr>
          <a:xfrm>
            <a:off x="554736" y="1199014"/>
            <a:ext cx="11082528" cy="465677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742020-AD1B-E142-8B2A-AD88849D7E77}"/>
              </a:ext>
            </a:extLst>
          </p:cNvPr>
          <p:cNvSpPr txBox="1"/>
          <p:nvPr/>
        </p:nvSpPr>
        <p:spPr>
          <a:xfrm>
            <a:off x="554736" y="1457365"/>
            <a:ext cx="5183075" cy="54338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2400" b="1" err="1"/>
              <a:t>Projet</a:t>
            </a:r>
            <a:r>
              <a:rPr lang="en-GB" sz="2400" b="1"/>
              <a:t> </a:t>
            </a:r>
            <a:r>
              <a:rPr lang="en-GB" sz="2400" b="1" err="1"/>
              <a:t>Pilote</a:t>
            </a:r>
            <a:r>
              <a:rPr lang="en-GB" sz="2400" b="1"/>
              <a:t> – Lille : 5% des </a:t>
            </a:r>
            <a:r>
              <a:rPr lang="en-GB" sz="2400" b="1" err="1"/>
              <a:t>colis</a:t>
            </a:r>
            <a:endParaRPr lang="en-GB" sz="24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7757AC-1E34-594C-B901-5C72DEA56A00}"/>
              </a:ext>
            </a:extLst>
          </p:cNvPr>
          <p:cNvSpPr txBox="1"/>
          <p:nvPr/>
        </p:nvSpPr>
        <p:spPr>
          <a:xfrm>
            <a:off x="6412641" y="1755615"/>
            <a:ext cx="5034872" cy="384857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2000" dirty="0">
                <a:solidFill>
                  <a:srgbClr val="051C2C"/>
                </a:solidFill>
              </a:rPr>
              <a:t>Mise en place d’un mini-entrepôt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1.5 M€ d’Investissement (</a:t>
            </a:r>
            <a:r>
              <a:rPr lang="fr-FR" sz="1600"/>
              <a:t>500m2</a:t>
            </a:r>
            <a:r>
              <a:rPr lang="fr-FR" sz="1600" dirty="0"/>
              <a:t>, 3k€/</a:t>
            </a:r>
            <a:r>
              <a:rPr lang="fr-FR" sz="1600"/>
              <a:t>m2</a:t>
            </a:r>
            <a:r>
              <a:rPr lang="fr-FR" sz="1600" dirty="0"/>
              <a:t>)</a:t>
            </a:r>
          </a:p>
          <a:p>
            <a:pPr algn="l">
              <a:spcBef>
                <a:spcPts val="300"/>
              </a:spcBef>
              <a:spcAft>
                <a:spcPts val="300"/>
              </a:spcAft>
            </a:pPr>
            <a:endParaRPr lang="fr-FR" sz="2000" dirty="0">
              <a:solidFill>
                <a:srgbClr val="051C2C"/>
              </a:solidFill>
            </a:endParaRPr>
          </a:p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fr-FR" sz="2000" dirty="0">
                <a:solidFill>
                  <a:srgbClr val="051C2C"/>
                </a:solidFill>
              </a:rPr>
              <a:t>Potentiel du fret ferroviaire</a:t>
            </a: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Émission </a:t>
            </a:r>
            <a:r>
              <a:rPr lang="fr-FR" sz="2000" dirty="0">
                <a:solidFill>
                  <a:srgbClr val="051C2C"/>
                </a:solidFill>
              </a:rPr>
              <a:t>-75% gCO2/km</a:t>
            </a: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Nouvelle source de revenu (crédit carbone)</a:t>
            </a:r>
          </a:p>
          <a:p>
            <a:pPr algn="l">
              <a:spcBef>
                <a:spcPts val="300"/>
              </a:spcBef>
              <a:spcAft>
                <a:spcPts val="300"/>
              </a:spcAft>
            </a:pPr>
            <a:endParaRPr lang="fr-FR" sz="1600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2000" dirty="0">
                <a:solidFill>
                  <a:srgbClr val="051C2C"/>
                </a:solidFill>
              </a:rPr>
              <a:t>Enjeux opérationnels</a:t>
            </a: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Mise en place d’une comptabilité carbone</a:t>
            </a: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Augmentation de la durée moyenne de livraison</a:t>
            </a: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Interconnexion entre les différent types de fret</a:t>
            </a: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fr-FR" sz="1600" dirty="0"/>
              <a:t>Impact sur la gestion du stock (plus uniforme entre les entrepôts)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0ADEB7-1FF2-D94D-96AC-794700959DC7}"/>
              </a:ext>
            </a:extLst>
          </p:cNvPr>
          <p:cNvSpPr>
            <a:spLocks noChangeAspect="1"/>
          </p:cNvSpPr>
          <p:nvPr/>
        </p:nvSpPr>
        <p:spPr>
          <a:xfrm>
            <a:off x="11009917" y="2262522"/>
            <a:ext cx="719970" cy="720000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>
                <a:solidFill>
                  <a:schemeClr val="bg1"/>
                </a:solidFill>
              </a:rPr>
              <a:t>-4% CO2</a:t>
            </a:r>
          </a:p>
        </p:txBody>
      </p:sp>
      <p:pic>
        <p:nvPicPr>
          <p:cNvPr id="19" name="Picture 18" descr="Shape&#10;&#10;Description automatically generated with low confidence">
            <a:extLst>
              <a:ext uri="{FF2B5EF4-FFF2-40B4-BE49-F238E27FC236}">
                <a16:creationId xmlns:a16="http://schemas.microsoft.com/office/drawing/2014/main" id="{2B366FE1-987A-8B4C-BBE1-5392E77196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24876" y="3097769"/>
            <a:ext cx="859268" cy="859268"/>
          </a:xfrm>
          <a:prstGeom prst="rect">
            <a:avLst/>
          </a:prstGeom>
        </p:spPr>
      </p:pic>
      <p:pic>
        <p:nvPicPr>
          <p:cNvPr id="21" name="Picture 20" descr="Shape&#10;&#10;Description automatically generated with low confidence">
            <a:extLst>
              <a:ext uri="{FF2B5EF4-FFF2-40B4-BE49-F238E27FC236}">
                <a16:creationId xmlns:a16="http://schemas.microsoft.com/office/drawing/2014/main" id="{282F67B7-0342-004E-B30E-0118207AD7E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817267" y="5033418"/>
            <a:ext cx="874486" cy="874486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964422F-F452-8D4D-ACFF-0F6ABA1B1A6A}"/>
              </a:ext>
            </a:extLst>
          </p:cNvPr>
          <p:cNvCxnSpPr/>
          <p:nvPr/>
        </p:nvCxnSpPr>
        <p:spPr>
          <a:xfrm>
            <a:off x="1694985" y="2933449"/>
            <a:ext cx="1159727" cy="105937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E31ED0F-58D3-074A-A5BA-B8E406CFDD05}"/>
              </a:ext>
            </a:extLst>
          </p:cNvPr>
          <p:cNvCxnSpPr>
            <a:cxnSpLocks/>
          </p:cNvCxnSpPr>
          <p:nvPr/>
        </p:nvCxnSpPr>
        <p:spPr>
          <a:xfrm>
            <a:off x="1895707" y="2592908"/>
            <a:ext cx="959005" cy="446478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739A942-6C42-9344-9372-9CCEAC0440E6}"/>
              </a:ext>
            </a:extLst>
          </p:cNvPr>
          <p:cNvCxnSpPr>
            <a:cxnSpLocks/>
          </p:cNvCxnSpPr>
          <p:nvPr/>
        </p:nvCxnSpPr>
        <p:spPr>
          <a:xfrm>
            <a:off x="2396599" y="2592908"/>
            <a:ext cx="458113" cy="446478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6DC86A1-491B-F349-A1B0-085B58BFCA5E}"/>
              </a:ext>
            </a:extLst>
          </p:cNvPr>
          <p:cNvCxnSpPr>
            <a:cxnSpLocks/>
          </p:cNvCxnSpPr>
          <p:nvPr/>
        </p:nvCxnSpPr>
        <p:spPr>
          <a:xfrm>
            <a:off x="1895707" y="2676971"/>
            <a:ext cx="959005" cy="362415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D0B8398-3191-5747-A0C1-68B4C3C7AC08}"/>
              </a:ext>
            </a:extLst>
          </p:cNvPr>
          <p:cNvCxnSpPr>
            <a:cxnSpLocks/>
          </p:cNvCxnSpPr>
          <p:nvPr/>
        </p:nvCxnSpPr>
        <p:spPr>
          <a:xfrm>
            <a:off x="1795346" y="2755030"/>
            <a:ext cx="1059366" cy="284356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3FA0E82-BA37-3545-9D48-B2687EE16B8F}"/>
              </a:ext>
            </a:extLst>
          </p:cNvPr>
          <p:cNvCxnSpPr>
            <a:cxnSpLocks/>
          </p:cNvCxnSpPr>
          <p:nvPr/>
        </p:nvCxnSpPr>
        <p:spPr>
          <a:xfrm>
            <a:off x="1795346" y="2833236"/>
            <a:ext cx="959005" cy="20615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F12EBA6-4A93-2C47-8B15-103AC781A886}"/>
              </a:ext>
            </a:extLst>
          </p:cNvPr>
          <p:cNvCxnSpPr>
            <a:cxnSpLocks/>
          </p:cNvCxnSpPr>
          <p:nvPr/>
        </p:nvCxnSpPr>
        <p:spPr>
          <a:xfrm>
            <a:off x="1795346" y="3039386"/>
            <a:ext cx="105936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2094EF3-D6F5-984E-AC98-F4E40DA838B1}"/>
              </a:ext>
            </a:extLst>
          </p:cNvPr>
          <p:cNvCxnSpPr>
            <a:cxnSpLocks/>
          </p:cNvCxnSpPr>
          <p:nvPr/>
        </p:nvCxnSpPr>
        <p:spPr>
          <a:xfrm flipH="1" flipV="1">
            <a:off x="2854712" y="3039386"/>
            <a:ext cx="635620" cy="250902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98F2676-020B-DF4D-80E5-BC4BED060E22}"/>
              </a:ext>
            </a:extLst>
          </p:cNvPr>
          <p:cNvCxnSpPr>
            <a:cxnSpLocks/>
          </p:cNvCxnSpPr>
          <p:nvPr/>
        </p:nvCxnSpPr>
        <p:spPr>
          <a:xfrm flipH="1" flipV="1">
            <a:off x="2854712" y="3039386"/>
            <a:ext cx="524108" cy="362415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E174264-4FF6-A74E-841E-816C7DC01031}"/>
              </a:ext>
            </a:extLst>
          </p:cNvPr>
          <p:cNvCxnSpPr>
            <a:cxnSpLocks/>
          </p:cNvCxnSpPr>
          <p:nvPr/>
        </p:nvCxnSpPr>
        <p:spPr>
          <a:xfrm flipH="1" flipV="1">
            <a:off x="2854712" y="3039386"/>
            <a:ext cx="356839" cy="362415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 descr="Warehouse with solid fill">
            <a:extLst>
              <a:ext uri="{FF2B5EF4-FFF2-40B4-BE49-F238E27FC236}">
                <a16:creationId xmlns:a16="http://schemas.microsoft.com/office/drawing/2014/main" id="{4B6220B6-B93D-5B41-8A65-68C6F0E477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18288" y="1942087"/>
            <a:ext cx="860400" cy="8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8916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6BE81D-E633-0542-B9CD-B23FCB18D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latin typeface="Segoe UI Emoji" panose="020B0502040204020203" pitchFamily="34" charset="0"/>
                <a:ea typeface="Segoe UI Emoji" panose="020B0502040204020203" pitchFamily="34" charset="0"/>
              </a:rPr>
              <a:t>Solution Flotte | LPD pourrait réduire de 30% ses émissions en 10 ans en améliorant les performances énergétiques de sa flott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33ECE94-7D97-4447-9283-9E989B7463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CE300C7-9E3E-DE4B-9975-77FE3620D84D}"/>
              </a:ext>
            </a:extLst>
          </p:cNvPr>
          <p:cNvSpPr txBox="1"/>
          <p:nvPr/>
        </p:nvSpPr>
        <p:spPr>
          <a:xfrm>
            <a:off x="554736" y="6531429"/>
            <a:ext cx="2697937" cy="14495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900">
                <a:latin typeface="Segoe UI Emoji" panose="020B0502040204020203" pitchFamily="34" charset="0"/>
                <a:ea typeface="Segoe UI Emoji" panose="020B0502040204020203" pitchFamily="34" charset="0"/>
              </a:rPr>
              <a:t>Source : Donnée client, Analyse CentraleSupélec, </a:t>
            </a:r>
            <a:r>
              <a:rPr lang="fr-FR" sz="900">
                <a:latin typeface="Segoe UI Emoji" panose="020B0502040204020203" pitchFamily="34" charset="0"/>
                <a:ea typeface="Segoe UI Emoji" panose="020B0502040204020203" pitchFamily="34" charset="0"/>
                <a:cs typeface="+mn-lt"/>
              </a:rPr>
              <a:t>https://www.grdf.fr/acteurs-gnv/accompagnement-grdf-gnv/concevoir-projet/emissions-co2-carburants</a:t>
            </a:r>
            <a:endParaRPr lang="fr-FR" sz="900">
              <a:latin typeface="Segoe UI Emoji" panose="020B0502040204020203" pitchFamily="34" charset="0"/>
              <a:ea typeface="Segoe UI Emoji" panose="020B0502040204020203" pitchFamily="34" charset="0"/>
            </a:endParaRP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1901BD4F-4C54-3F49-AC61-8B5808F7349B}"/>
              </a:ext>
            </a:extLst>
          </p:cNvPr>
          <p:cNvSpPr txBox="1"/>
          <p:nvPr/>
        </p:nvSpPr>
        <p:spPr>
          <a:xfrm>
            <a:off x="7215181" y="2986421"/>
            <a:ext cx="4422083" cy="52692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...Mais nécessite un investissement </a:t>
            </a:r>
            <a:r>
              <a:rPr lang="fr-FR">
                <a:solidFill>
                  <a:srgbClr val="051C2C"/>
                </a:solidFill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3 fois supérieur</a:t>
            </a:r>
            <a:endParaRPr lang="fr-FR" sz="1400">
              <a:latin typeface="Segoe UI Emoji" panose="020B0502040204020203" pitchFamily="34" charset="0"/>
              <a:ea typeface="Segoe UI Emoji" panose="020B0502040204020203" pitchFamily="34" charset="0"/>
              <a:cs typeface="Arial"/>
            </a:endParaRPr>
          </a:p>
        </p:txBody>
      </p:sp>
      <p:grpSp>
        <p:nvGrpSpPr>
          <p:cNvPr id="10" name="Group 20">
            <a:extLst>
              <a:ext uri="{FF2B5EF4-FFF2-40B4-BE49-F238E27FC236}">
                <a16:creationId xmlns:a16="http://schemas.microsoft.com/office/drawing/2014/main" id="{AEF6C74F-16C5-4DCA-82EA-BFFAB60144F4}"/>
              </a:ext>
            </a:extLst>
          </p:cNvPr>
          <p:cNvGrpSpPr/>
          <p:nvPr/>
        </p:nvGrpSpPr>
        <p:grpSpPr>
          <a:xfrm rot="5400000">
            <a:off x="5894262" y="-1452860"/>
            <a:ext cx="407925" cy="10819202"/>
            <a:chOff x="6310730" y="-2302907"/>
            <a:chExt cx="480357" cy="12324495"/>
          </a:xfrm>
        </p:grpSpPr>
        <p:grpSp>
          <p:nvGrpSpPr>
            <p:cNvPr id="20" name="ChevronBlue 25">
              <a:extLst>
                <a:ext uri="{FF2B5EF4-FFF2-40B4-BE49-F238E27FC236}">
                  <a16:creationId xmlns:a16="http://schemas.microsoft.com/office/drawing/2014/main" id="{22674E8D-BD75-4AD4-802A-3E591EC45737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gray">
            <a:xfrm>
              <a:off x="6310730" y="3633618"/>
              <a:ext cx="480357" cy="486555"/>
              <a:chOff x="1108637" y="1087012"/>
              <a:chExt cx="198878" cy="198856"/>
            </a:xfrm>
          </p:grpSpPr>
          <p:sp>
            <p:nvSpPr>
              <p:cNvPr id="23" name="Oval 17">
                <a:extLst>
                  <a:ext uri="{FF2B5EF4-FFF2-40B4-BE49-F238E27FC236}">
                    <a16:creationId xmlns:a16="http://schemas.microsoft.com/office/drawing/2014/main" id="{69E4C915-F071-40AA-A8C8-8596442F8CD0}"/>
                  </a:ext>
                </a:extLst>
              </p:cNvPr>
              <p:cNvSpPr/>
              <p:nvPr/>
            </p:nvSpPr>
            <p:spPr bwMode="gray">
              <a:xfrm>
                <a:off x="1108637" y="1087012"/>
                <a:ext cx="198113" cy="198856"/>
              </a:xfrm>
              <a:prstGeom prst="ellipse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Emoji" panose="020B0502040204020203" pitchFamily="34" charset="0"/>
                  <a:ea typeface="Segoe UI Emoji" panose="020B0502040204020203" pitchFamily="34" charset="0"/>
                </a:endParaRPr>
              </a:p>
            </p:txBody>
          </p:sp>
          <p:pic>
            <p:nvPicPr>
              <p:cNvPr id="24" name="Graphic 18">
                <a:extLst>
                  <a:ext uri="{FF2B5EF4-FFF2-40B4-BE49-F238E27FC236}">
                    <a16:creationId xmlns:a16="http://schemas.microsoft.com/office/drawing/2014/main" id="{E131DDA3-2F71-4C98-B2BB-99F0D02FD0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 bwMode="gray">
              <a:xfrm>
                <a:off x="1116324" y="1096907"/>
                <a:ext cx="191191" cy="184292"/>
              </a:xfrm>
              <a:prstGeom prst="rect">
                <a:avLst/>
              </a:prstGeom>
            </p:spPr>
          </p:pic>
        </p:grpSp>
        <p:cxnSp>
          <p:nvCxnSpPr>
            <p:cNvPr id="21" name="Straight Connector 15">
              <a:extLst>
                <a:ext uri="{FF2B5EF4-FFF2-40B4-BE49-F238E27FC236}">
                  <a16:creationId xmlns:a16="http://schemas.microsoft.com/office/drawing/2014/main" id="{1F8BA6CC-EF14-40D2-BFBA-F2E22F5965FC}"/>
                </a:ext>
              </a:extLst>
            </p:cNvPr>
            <p:cNvCxnSpPr>
              <a:cxnSpLocks/>
            </p:cNvCxnSpPr>
            <p:nvPr/>
          </p:nvCxnSpPr>
          <p:spPr bwMode="gray">
            <a:xfrm rot="16200000" flipH="1" flipV="1">
              <a:off x="3689902" y="559047"/>
              <a:ext cx="5723912" cy="4"/>
            </a:xfrm>
            <a:prstGeom prst="line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16">
              <a:extLst>
                <a:ext uri="{FF2B5EF4-FFF2-40B4-BE49-F238E27FC236}">
                  <a16:creationId xmlns:a16="http://schemas.microsoft.com/office/drawing/2014/main" id="{B3E03AF5-96E0-4E01-98EC-AECB8D4AAACF}"/>
                </a:ext>
              </a:extLst>
            </p:cNvPr>
            <p:cNvCxnSpPr>
              <a:cxnSpLocks/>
            </p:cNvCxnSpPr>
            <p:nvPr/>
          </p:nvCxnSpPr>
          <p:spPr bwMode="gray">
            <a:xfrm rot="16200000" flipH="1">
              <a:off x="3711662" y="7167515"/>
              <a:ext cx="5708146" cy="0"/>
            </a:xfrm>
            <a:prstGeom prst="line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Box 4">
            <a:extLst>
              <a:ext uri="{FF2B5EF4-FFF2-40B4-BE49-F238E27FC236}">
                <a16:creationId xmlns:a16="http://schemas.microsoft.com/office/drawing/2014/main" id="{962422AC-ED87-42C2-B685-5A0C95C778F3}"/>
              </a:ext>
            </a:extLst>
          </p:cNvPr>
          <p:cNvSpPr txBox="1"/>
          <p:nvPr/>
        </p:nvSpPr>
        <p:spPr>
          <a:xfrm>
            <a:off x="7215181" y="1650568"/>
            <a:ext cx="4422083" cy="73389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</a:pP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La solution électrique permet de réduire </a:t>
            </a:r>
            <a:r>
              <a:rPr lang="fr-FR">
                <a:solidFill>
                  <a:srgbClr val="051C2C"/>
                </a:solidFill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de 75% </a:t>
            </a:r>
            <a:r>
              <a:rPr lang="fr-FR" sz="140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les émissions de CO2 d'un camion au cours de sa vie...</a:t>
            </a:r>
          </a:p>
        </p:txBody>
      </p:sp>
      <p:sp>
        <p:nvSpPr>
          <p:cNvPr id="45" name="TextBox 4">
            <a:extLst>
              <a:ext uri="{FF2B5EF4-FFF2-40B4-BE49-F238E27FC236}">
                <a16:creationId xmlns:a16="http://schemas.microsoft.com/office/drawing/2014/main" id="{7A02976C-FAC4-402B-97A3-E721205CC555}"/>
              </a:ext>
            </a:extLst>
          </p:cNvPr>
          <p:cNvSpPr txBox="1"/>
          <p:nvPr/>
        </p:nvSpPr>
        <p:spPr>
          <a:xfrm>
            <a:off x="752292" y="4802051"/>
            <a:ext cx="5005341" cy="130774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>
              <a:latin typeface="Segoe UI Emoji" panose="020B0502040204020203" pitchFamily="34" charset="0"/>
              <a:ea typeface="Segoe UI Emoji" panose="020B0502040204020203" pitchFamily="34" charset="0"/>
              <a:cs typeface="Arial"/>
            </a:endParaRP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6232739D-5ECE-484D-BF75-E07EAB69DF78}"/>
              </a:ext>
            </a:extLst>
          </p:cNvPr>
          <p:cNvSpPr txBox="1"/>
          <p:nvPr/>
        </p:nvSpPr>
        <p:spPr>
          <a:xfrm>
            <a:off x="690386" y="4340460"/>
            <a:ext cx="5924465" cy="4616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50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Un remplacement de </a:t>
            </a:r>
            <a:r>
              <a:rPr lang="fr-FR" sz="1500" b="1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6% de la flotte</a:t>
            </a:r>
            <a:r>
              <a:rPr lang="fr-FR" sz="1500">
                <a:latin typeface="Segoe UI Emoji" panose="020B0502040204020203" pitchFamily="34" charset="0"/>
                <a:ea typeface="Segoe UI Emoji" panose="020B0502040204020203" pitchFamily="34" charset="0"/>
                <a:cs typeface="Arial"/>
              </a:rPr>
              <a:t> par des camions électriques chaque année : </a:t>
            </a:r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4E2EFEFB-E701-42AA-BFEA-D248AF44AB71}"/>
              </a:ext>
            </a:extLst>
          </p:cNvPr>
          <p:cNvSpPr txBox="1"/>
          <p:nvPr/>
        </p:nvSpPr>
        <p:spPr>
          <a:xfrm>
            <a:off x="1442978" y="5111867"/>
            <a:ext cx="4936688" cy="69249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500" b="1">
                <a:latin typeface="Segoe UI Emoji"/>
                <a:ea typeface="Segoe UI Emoji"/>
                <a:cs typeface="+mn-lt"/>
              </a:rPr>
              <a:t>Réduit jusqu'à 5.7 MTCo2eq</a:t>
            </a:r>
            <a:r>
              <a:rPr lang="fr-FR" sz="1500">
                <a:latin typeface="Segoe UI Emoji"/>
                <a:ea typeface="Segoe UI Emoji"/>
                <a:cs typeface="+mn-lt"/>
              </a:rPr>
              <a:t> au bout de 10 ans soit </a:t>
            </a:r>
            <a:r>
              <a:rPr lang="fr-FR" sz="1500" b="1">
                <a:latin typeface="Segoe UI Emoji"/>
                <a:ea typeface="Segoe UI Emoji"/>
                <a:cs typeface="+mn-lt"/>
              </a:rPr>
              <a:t>30% de réduction </a:t>
            </a:r>
            <a:r>
              <a:rPr lang="fr-FR" sz="1500">
                <a:latin typeface="Segoe UI Emoji"/>
                <a:ea typeface="Segoe UI Emoji"/>
                <a:cs typeface="+mn-lt"/>
              </a:rPr>
              <a:t>par rapport au cas Diesel ce qui correspond aux émissions de 570 000 personnes en un an </a:t>
            </a:r>
            <a:endParaRPr lang="fr-FR" sz="1500">
              <a:latin typeface="Segoe UI Emoji"/>
              <a:ea typeface="Segoe UI Emoji"/>
              <a:cs typeface="Arial"/>
            </a:endParaRP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C2B2FBC9-3FAE-4C3A-A36F-822165725425}"/>
              </a:ext>
            </a:extLst>
          </p:cNvPr>
          <p:cNvSpPr txBox="1"/>
          <p:nvPr/>
        </p:nvSpPr>
        <p:spPr>
          <a:xfrm>
            <a:off x="1442979" y="5996164"/>
            <a:ext cx="4344021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500">
                <a:latin typeface="Segoe UI Emoji"/>
                <a:ea typeface="Segoe UI Emoji"/>
                <a:cs typeface="Arial"/>
              </a:rPr>
              <a:t>Nécessite un investissement de </a:t>
            </a:r>
            <a:r>
              <a:rPr lang="fr-FR" sz="1500" b="1">
                <a:latin typeface="Segoe UI Emoji"/>
                <a:ea typeface="Segoe UI Emoji"/>
                <a:cs typeface="Arial"/>
              </a:rPr>
              <a:t>18M€ sur 10 ans</a:t>
            </a:r>
            <a:r>
              <a:rPr lang="fr-FR" sz="1500">
                <a:latin typeface="Segoe UI Emoji"/>
                <a:ea typeface="Segoe UI Emoji"/>
                <a:cs typeface="Arial"/>
              </a:rPr>
              <a:t> </a:t>
            </a:r>
          </a:p>
        </p:txBody>
      </p:sp>
      <p:pic>
        <p:nvPicPr>
          <p:cNvPr id="51" name="Image 51">
            <a:extLst>
              <a:ext uri="{FF2B5EF4-FFF2-40B4-BE49-F238E27FC236}">
                <a16:creationId xmlns:a16="http://schemas.microsoft.com/office/drawing/2014/main" id="{1727DB72-8AA3-4A0C-A3F7-023B686BFA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1512" y="5190066"/>
            <a:ext cx="400757" cy="410164"/>
          </a:xfrm>
          <a:prstGeom prst="rect">
            <a:avLst/>
          </a:prstGeom>
        </p:spPr>
      </p:pic>
      <p:pic>
        <p:nvPicPr>
          <p:cNvPr id="52" name="Image 52">
            <a:extLst>
              <a:ext uri="{FF2B5EF4-FFF2-40B4-BE49-F238E27FC236}">
                <a16:creationId xmlns:a16="http://schemas.microsoft.com/office/drawing/2014/main" id="{EBFF7F90-B0D3-4FE8-B97B-81FDBAC8B6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6252" y="5782732"/>
            <a:ext cx="560683" cy="579497"/>
          </a:xfrm>
          <a:prstGeom prst="rect">
            <a:avLst/>
          </a:prstGeom>
        </p:spPr>
      </p:pic>
      <p:pic>
        <p:nvPicPr>
          <p:cNvPr id="25" name="Picture 24" descr="Shape&#10;&#10;Description automatically generated with low confidence">
            <a:extLst>
              <a:ext uri="{FF2B5EF4-FFF2-40B4-BE49-F238E27FC236}">
                <a16:creationId xmlns:a16="http://schemas.microsoft.com/office/drawing/2014/main" id="{20DDF1ED-9469-AC47-AF2B-63C2123C67A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08" b="23090"/>
          <a:stretch/>
        </p:blipFill>
        <p:spPr>
          <a:xfrm>
            <a:off x="6120028" y="1686916"/>
            <a:ext cx="902092" cy="612546"/>
          </a:xfrm>
          <a:prstGeom prst="rect">
            <a:avLst/>
          </a:prstGeom>
        </p:spPr>
      </p:pic>
      <p:pic>
        <p:nvPicPr>
          <p:cNvPr id="26" name="Picture 25" descr="Shape&#10;&#10;Description automatically generated with low confidence">
            <a:extLst>
              <a:ext uri="{FF2B5EF4-FFF2-40B4-BE49-F238E27FC236}">
                <a16:creationId xmlns:a16="http://schemas.microsoft.com/office/drawing/2014/main" id="{9AA85B19-B5B0-CE45-92BB-83D19AFBD9D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7892" t="12558" r="16775" b="25529"/>
          <a:stretch/>
        </p:blipFill>
        <p:spPr>
          <a:xfrm>
            <a:off x="6248173" y="2864741"/>
            <a:ext cx="645801" cy="612000"/>
          </a:xfrm>
          <a:prstGeom prst="rect">
            <a:avLst/>
          </a:prstGeom>
        </p:spPr>
      </p:pic>
      <p:pic>
        <p:nvPicPr>
          <p:cNvPr id="3" name="Image 6" descr="Une image contenant table&#10;&#10;Description générée automatiquement">
            <a:extLst>
              <a:ext uri="{FF2B5EF4-FFF2-40B4-BE49-F238E27FC236}">
                <a16:creationId xmlns:a16="http://schemas.microsoft.com/office/drawing/2014/main" id="{80053999-A4F8-410D-86CC-F21A23591E1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6251" y="1325186"/>
            <a:ext cx="4540015" cy="2429628"/>
          </a:xfrm>
          <a:prstGeom prst="rect">
            <a:avLst/>
          </a:prstGeom>
        </p:spPr>
      </p:pic>
      <p:pic>
        <p:nvPicPr>
          <p:cNvPr id="8" name="Image 8">
            <a:extLst>
              <a:ext uri="{FF2B5EF4-FFF2-40B4-BE49-F238E27FC236}">
                <a16:creationId xmlns:a16="http://schemas.microsoft.com/office/drawing/2014/main" id="{155B0ABA-97F8-47CF-98C8-30202D14DBA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77289" y="4044307"/>
            <a:ext cx="3730977" cy="235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873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5"/>
  <p:tag name="DARKLAYOUTNAMESCHANGEDTOCONTRAST" val="true"/>
  <p:tag name="TEMPLATELASTEDITED" val="2020-07-06 02:55 PM"/>
  <p:tag name="ICONENCLOSURE" val="True"/>
  <p:tag name="THINKCELLPRESENTATIONDONOTDELETE" val="&lt;?xml version=&quot;1.0&quot; encoding=&quot;UTF-16&quot; standalone=&quot;yes&quot;?&gt;&lt;root reqver=&quot;27037&quot;&gt;&lt;version val=&quot;325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70hiVt2ZXlSQ2XkZsPN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rz9zda8GX.mJLozzH.k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rz9zda8GX.mJLozzH.k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non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9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8811DD9E-8123-46B5-828A-C04C9662DDCB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6592001C-CD0C-492B-A46D-8B4EF9FAD566}"/>
    </a:ext>
  </a:extLst>
</a:theme>
</file>

<file path=ppt/theme/theme3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4.xml><?xml version="1.0" encoding="utf-8"?>
<a:theme xmlns:a="http://schemas.openxmlformats.org/drawingml/2006/main" name="1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8811DD9E-8123-46B5-828A-C04C9662DDCB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24E82B108BB84EB58D3D2DC99BA7B5" ma:contentTypeVersion="2" ma:contentTypeDescription="Crée un document." ma:contentTypeScope="" ma:versionID="a8d19bc5b5bf03c5433310dd568247d8">
  <xsd:schema xmlns:xsd="http://www.w3.org/2001/XMLSchema" xmlns:xs="http://www.w3.org/2001/XMLSchema" xmlns:p="http://schemas.microsoft.com/office/2006/metadata/properties" xmlns:ns2="57f28c91-8012-4f72-8c84-b936c8b0afc0" targetNamespace="http://schemas.microsoft.com/office/2006/metadata/properties" ma:root="true" ma:fieldsID="aa9245a8157a6e45fcf6a99befd207f6" ns2:_="">
    <xsd:import namespace="57f28c91-8012-4f72-8c84-b936c8b0af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f28c91-8012-4f72-8c84-b936c8b0af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90B067-17C9-4BF0-8ECB-525271EE3143}">
  <ds:schemaRefs>
    <ds:schemaRef ds:uri="57f28c91-8012-4f72-8c84-b936c8b0afc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84B94D2-7CFC-4A24-8D8E-147B4F521506}">
  <ds:schemaRefs>
    <ds:schemaRef ds:uri="http://schemas.microsoft.com/office/2006/metadata/properties"/>
    <ds:schemaRef ds:uri="57f28c91-8012-4f72-8c84-b936c8b0afc0"/>
    <ds:schemaRef ds:uri="http://schemas.microsoft.com/office/infopath/2007/PartnerControls"/>
    <ds:schemaRef ds:uri="http://purl.org/dc/dcmitype/"/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C9AD887-FD3E-43B4-8251-0421E53F7F5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neFirm-French (France)-Wide</Template>
  <TotalTime>0</TotalTime>
  <Words>1906</Words>
  <Application>Microsoft Office PowerPoint</Application>
  <PresentationFormat>Grand écran</PresentationFormat>
  <Paragraphs>508</Paragraphs>
  <Slides>20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32" baseType="lpstr">
      <vt:lpstr>Arial</vt:lpstr>
      <vt:lpstr>Calibri</vt:lpstr>
      <vt:lpstr>Cambria Math</vt:lpstr>
      <vt:lpstr>Georgia</vt:lpstr>
      <vt:lpstr>Segoe UI</vt:lpstr>
      <vt:lpstr>Segoe UI Emoji</vt:lpstr>
      <vt:lpstr>Wingdings</vt:lpstr>
      <vt:lpstr>White</vt:lpstr>
      <vt:lpstr>Contrast</vt:lpstr>
      <vt:lpstr>Firm Format - template_Blue</vt:lpstr>
      <vt:lpstr>1_White</vt:lpstr>
      <vt:lpstr>think-cell Slide</vt:lpstr>
      <vt:lpstr>La Poste Durable Réduction des émissions de CO2 dues au transport de colis</vt:lpstr>
      <vt:lpstr>Contexte | LPD souhaite revoir sa stratégie de reduction des émissions de CO2</vt:lpstr>
      <vt:lpstr>Executive Summary</vt:lpstr>
      <vt:lpstr>Diagnostic | Des améliorations sont possibles du point de vue des trajets et des entrepôts </vt:lpstr>
      <vt:lpstr>Réduction | Trois initiatives permettraient à LPD de réduire ses émissions</vt:lpstr>
      <vt:lpstr>Solution Trajets | LPD pourrait réduire à court-terme de 40% ses émissions en optimisant les trajets et en augmentant les délais de livraison</vt:lpstr>
      <vt:lpstr>Solution Logistique | LPD pourrait réduire de 11% ses émissions d’ici 3 ans en transférant l’entrepôt de Clermont à Rennes</vt:lpstr>
      <vt:lpstr>Solution Logistique | À long-terme, le passage à un fret mixte pourrait réduire les émissions d’au moins 4% supplémentaires </vt:lpstr>
      <vt:lpstr>Solution Flotte | LPD pourrait réduire de 30% ses émissions en 10 ans en améliorant les performances énergétiques de sa flotte</vt:lpstr>
      <vt:lpstr>Matrice Faisabilité | Trois opportunités de réduction des émissions se dégagent à court, moyen et long terme</vt:lpstr>
      <vt:lpstr>Plan d’action | LPD peut réduire son impact carbone facilement à court terme, puis lancer des initiatives à plus long terme tout en améliorant son modèle.</vt:lpstr>
      <vt:lpstr>Présentation PowerPoint</vt:lpstr>
      <vt:lpstr>Annexes</vt:lpstr>
      <vt:lpstr>Code réutilisable et industrialisable</vt:lpstr>
      <vt:lpstr>Diagnostic repartition des types de colis dans un camion avant et après l’optimisation des trajets</vt:lpstr>
      <vt:lpstr>Une optimisation des itinéraires et particulièrement pour les trajets comportant de nombreux arrêts</vt:lpstr>
      <vt:lpstr>Solution Logistique | LPD pourrait réduire de x% ses émissions en 1 an en transférant l’entrepôt de Clermont à Rennes</vt:lpstr>
      <vt:lpstr>Solution Logistique | À long-terme, changement de business model</vt:lpstr>
      <vt:lpstr>Calcul des émissions de Co2 et des coûts d'investissements par type de camions</vt:lpstr>
      <vt:lpstr>Plan d’action | LPD peut réduire son impact carbone facilement à court terme, puis lancer des initiatives à plus long term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Laurence Berton</dc:creator>
  <cp:keywords/>
  <dc:description/>
  <cp:lastModifiedBy>Pauline Berberi (Student at CentraleSupelec)</cp:lastModifiedBy>
  <cp:revision>1</cp:revision>
  <cp:lastPrinted>2018-10-30T20:37:12Z</cp:lastPrinted>
  <dcterms:created xsi:type="dcterms:W3CDTF">2021-09-16T10:42:32Z</dcterms:created>
  <dcterms:modified xsi:type="dcterms:W3CDTF">2021-11-26T08:31:2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6</vt:lpwstr>
  </property>
  <property fmtid="{D5CDD505-2E9C-101B-9397-08002B2CF9AE}" pid="7" name="TemplateLastEdited">
    <vt:lpwstr>2020-07-06 02:55 P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4F24E82B108BB84EB58D3D2DC99BA7B5</vt:lpwstr>
  </property>
</Properties>
</file>